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tags/tag23.xml" ContentType="application/vnd.openxmlformats-officedocument.presentationml.tags+xml"/>
  <Override PartName="/ppt/notesSlides/notesSlide12.xml" ContentType="application/vnd.openxmlformats-officedocument.presentationml.notesSlide+xml"/>
  <Override PartName="/ppt/tags/tag24.xml" ContentType="application/vnd.openxmlformats-officedocument.presentationml.tags+xml"/>
  <Override PartName="/ppt/notesSlides/notesSlide13.xml" ContentType="application/vnd.openxmlformats-officedocument.presentationml.notesSlide+xml"/>
  <Override PartName="/ppt/tags/tag25.xml" ContentType="application/vnd.openxmlformats-officedocument.presentationml.tags+xml"/>
  <Override PartName="/ppt/notesSlides/notesSlide1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tags/tag30.xml" ContentType="application/vnd.openxmlformats-officedocument.presentationml.tags+xml"/>
  <Override PartName="/ppt/notesSlides/notesSlide17.xml" ContentType="application/vnd.openxmlformats-officedocument.presentationml.notesSlide+xml"/>
  <Override PartName="/ppt/tags/tag31.xml" ContentType="application/vnd.openxmlformats-officedocument.presentationml.tags+xml"/>
  <Override PartName="/ppt/notesSlides/notesSlide18.xml" ContentType="application/vnd.openxmlformats-officedocument.presentationml.notesSlide+xml"/>
  <Override PartName="/ppt/tags/tag32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  <p:sldMasterId id="2147484714" r:id="rId5"/>
    <p:sldMasterId id="2147485040" r:id="rId6"/>
    <p:sldMasterId id="2147485128" r:id="rId7"/>
    <p:sldMasterId id="2147485178" r:id="rId8"/>
  </p:sldMasterIdLst>
  <p:notesMasterIdLst>
    <p:notesMasterId r:id="rId50"/>
  </p:notesMasterIdLst>
  <p:handoutMasterIdLst>
    <p:handoutMasterId r:id="rId51"/>
  </p:handoutMasterIdLst>
  <p:sldIdLst>
    <p:sldId id="337" r:id="rId9"/>
    <p:sldId id="2147479107" r:id="rId10"/>
    <p:sldId id="2147479037" r:id="rId11"/>
    <p:sldId id="2147479199" r:id="rId12"/>
    <p:sldId id="2147483578" r:id="rId13"/>
    <p:sldId id="2147483579" r:id="rId14"/>
    <p:sldId id="2147483581" r:id="rId15"/>
    <p:sldId id="2147479200" r:id="rId16"/>
    <p:sldId id="256" r:id="rId17"/>
    <p:sldId id="257" r:id="rId18"/>
    <p:sldId id="258" r:id="rId19"/>
    <p:sldId id="259" r:id="rId20"/>
    <p:sldId id="260" r:id="rId21"/>
    <p:sldId id="261" r:id="rId22"/>
    <p:sldId id="262" r:id="rId23"/>
    <p:sldId id="2147483630" r:id="rId24"/>
    <p:sldId id="264" r:id="rId25"/>
    <p:sldId id="265" r:id="rId26"/>
    <p:sldId id="266" r:id="rId27"/>
    <p:sldId id="267" r:id="rId28"/>
    <p:sldId id="268" r:id="rId29"/>
    <p:sldId id="269" r:id="rId30"/>
    <p:sldId id="270" r:id="rId31"/>
    <p:sldId id="271" r:id="rId32"/>
    <p:sldId id="272" r:id="rId33"/>
    <p:sldId id="273" r:id="rId34"/>
    <p:sldId id="274" r:id="rId35"/>
    <p:sldId id="275" r:id="rId36"/>
    <p:sldId id="2147479201" r:id="rId37"/>
    <p:sldId id="2147483538" r:id="rId38"/>
    <p:sldId id="263" r:id="rId39"/>
    <p:sldId id="2147482298" r:id="rId40"/>
    <p:sldId id="2147482297" r:id="rId41"/>
    <p:sldId id="441" r:id="rId42"/>
    <p:sldId id="322" r:id="rId43"/>
    <p:sldId id="2147483628" r:id="rId44"/>
    <p:sldId id="2147483586" r:id="rId45"/>
    <p:sldId id="2147483587" r:id="rId46"/>
    <p:sldId id="2147483629" r:id="rId47"/>
    <p:sldId id="2147483585" r:id="rId48"/>
    <p:sldId id="2147479194" r:id="rId49"/>
  </p:sldIdLst>
  <p:sldSz cx="12192000" cy="6858000"/>
  <p:notesSz cx="6858000" cy="9144000"/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8F5808-AC2E-2E3D-3E6E-3C12767B693A}" name="Quentin Guillon" initials="QG" userId="Quentin Guillon" providerId="None"/>
  <p188:author id="{6237A625-E453-6D9F-F9EF-A90B5DF7ED9F}" name="Taylor Holroyd" initials="TH" userId="S::tholroyd@gavi.org::d7fafdde-bada-4ba5-9b5a-d8ce78356793" providerId="AD"/>
  <p188:author id="{D5844A30-E7A3-507D-A36A-97E1878AAD94}" name="Zahra Neshat" initials="ZN" userId="S::zneshat@gavi.org::439e0e09-934e-41d3-8f58-9cde050e5e13" providerId="AD"/>
  <p188:author id="{F62EA58C-9640-35CF-0284-43439C4DA2A8}" name="Albane De Gabrielli" initials="ADG" userId="S::agabrielli@gavi.org::6e69bd53-33e4-437e-8b5d-46868ad7b34f" providerId="AD"/>
  <p188:author id="{0A7C2390-F4A4-EBEE-0A87-65CDB6275A63}" name="Friederike Teutsch" initials="FT" userId="S::fteutsch@gavi.org::b1c99ed9-49ae-4f77-aaca-917ff73ec7e1" providerId="AD"/>
  <p188:author id="{9B529894-365C-1D7E-BCE3-6473717F6D65}" name="Seth Berkley" initials="SB" userId="S::sberkley@gavi.org::ecc41633-5f03-49d2-816f-96b1ac6aabe5" providerId="AD"/>
  <p188:author id="{EAA736A8-7287-CDC8-CC3D-FD47A28407E8}" name="Ombline Richard" initials="OR" userId="S::orichard@gavi.org::d6eff9f3-4750-45b3-bd6d-7423bae8e0e7" providerId="AD"/>
  <p188:author id="{23EF4DAB-93E1-C12A-6226-AA16FDC53DE6}" name="Benjamin Loevinsohn" initials="BL" userId="S::bloevinsohn@gavi.org::3fd68bd8-4090-4596-b03d-3de7b5dccbaa" providerId="AD"/>
  <p188:author id="{25CE62AC-0412-15B7-5B65-D78D205F1AA6}" name="George Messer (Consultant)" initials="" userId="S::gmesser@gavi.org::927a7d50-a11e-43cd-bbda-902c58a0e8e3" providerId="AD"/>
  <p188:author id="{07A170C0-02AB-DB3D-D77E-CBBF57FE6CE2}" name="Nathalie Salagnac" initials="NS" userId="S::nsalagnac@gavi.org::aad14fd6-fd67-40b1-addd-3a6c107d4a41" providerId="AD"/>
  <p188:author id="{B22747C4-3D18-7EFE-5345-957D97426A8A}" name="Amanda Fazzone Tschopp" initials="AFT" userId="S::afazzonetschopp@gavi.org::ac33803d-975a-48c6-8368-950b0a504ea3" providerId="AD"/>
  <p188:author id="{3AAA48CB-6CC1-EEF0-5CF8-78EDE46822FD}" name="Lizzie Noonan" initials="LN" userId="S::lnoonan@gavi.org::ae58915b-9fae-4254-8c0e-c48f9314703c" providerId="AD"/>
  <p188:author id="{EFF771CC-D4D4-FE7B-5CB5-E4BD786D70F1}" name="Hannah Burris" initials="HB" userId="S::hburris@gavi.org::9ebb13b7-7acc-4fda-b4bd-13aced0aea56" providerId="AD"/>
  <p188:author id="{838BF2DC-BD6D-B65C-C926-ED6CF9FF8AF3}" name="Alex de Jonquieres" initials="AdJ" userId="S::adejonquieres@gavi.org::30947daa-0adc-4200-b094-2a20d188ca30" providerId="AD"/>
  <p188:author id="{992179F0-2645-28F0-80F9-AC80767B874E}" name="Sally Dalgaard" initials="SD" userId="Sally Dalgaard" providerId="None"/>
  <p188:author id="{C9CCDAF0-3067-B135-138F-5B0EF5FDCCFE}" name="Rebekah McCosby (Consultant)" initials="RM" userId="S::rmccosby@gavi.org::abd6a7fd-42b1-4695-a551-d58f75cd5eb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8989"/>
    <a:srgbClr val="E61452"/>
    <a:srgbClr val="898900"/>
    <a:srgbClr val="E6E6E6"/>
    <a:srgbClr val="00A1DF"/>
    <a:srgbClr val="F89B1D"/>
    <a:srgbClr val="DB4835"/>
    <a:srgbClr val="F87C56"/>
    <a:srgbClr val="C4F56E"/>
    <a:srgbClr val="002E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65"/>
    <p:restoredTop sz="64810" autoAdjust="0"/>
  </p:normalViewPr>
  <p:slideViewPr>
    <p:cSldViewPr snapToGrid="0">
      <p:cViewPr varScale="1">
        <p:scale>
          <a:sx n="50" d="100"/>
          <a:sy n="50" d="100"/>
        </p:scale>
        <p:origin x="1212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microsoft.com/office/2018/10/relationships/authors" Target="authors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tags" Target="tags/tag1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3" Type="http://schemas.openxmlformats.org/officeDocument/2006/relationships/image" Target="../media/image68.png"/><Relationship Id="rId7" Type="http://schemas.openxmlformats.org/officeDocument/2006/relationships/image" Target="../media/image71.png"/><Relationship Id="rId2" Type="http://schemas.openxmlformats.org/officeDocument/2006/relationships/image" Target="../media/image67.svg"/><Relationship Id="rId1" Type="http://schemas.openxmlformats.org/officeDocument/2006/relationships/image" Target="../media/image66.png"/><Relationship Id="rId6" Type="http://schemas.openxmlformats.org/officeDocument/2006/relationships/image" Target="../media/image70.svg"/><Relationship Id="rId5" Type="http://schemas.openxmlformats.org/officeDocument/2006/relationships/image" Target="../media/image58.png"/><Relationship Id="rId10" Type="http://schemas.openxmlformats.org/officeDocument/2006/relationships/image" Target="../media/image74.svg"/><Relationship Id="rId4" Type="http://schemas.openxmlformats.org/officeDocument/2006/relationships/image" Target="../media/image69.svg"/><Relationship Id="rId9" Type="http://schemas.openxmlformats.org/officeDocument/2006/relationships/image" Target="../media/image73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3" Type="http://schemas.openxmlformats.org/officeDocument/2006/relationships/image" Target="../media/image68.png"/><Relationship Id="rId7" Type="http://schemas.openxmlformats.org/officeDocument/2006/relationships/image" Target="../media/image71.png"/><Relationship Id="rId2" Type="http://schemas.openxmlformats.org/officeDocument/2006/relationships/image" Target="../media/image67.svg"/><Relationship Id="rId1" Type="http://schemas.openxmlformats.org/officeDocument/2006/relationships/image" Target="../media/image66.png"/><Relationship Id="rId6" Type="http://schemas.openxmlformats.org/officeDocument/2006/relationships/image" Target="../media/image70.svg"/><Relationship Id="rId5" Type="http://schemas.openxmlformats.org/officeDocument/2006/relationships/image" Target="../media/image58.png"/><Relationship Id="rId10" Type="http://schemas.openxmlformats.org/officeDocument/2006/relationships/image" Target="../media/image74.svg"/><Relationship Id="rId4" Type="http://schemas.openxmlformats.org/officeDocument/2006/relationships/image" Target="../media/image69.svg"/><Relationship Id="rId9" Type="http://schemas.openxmlformats.org/officeDocument/2006/relationships/image" Target="../media/image7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4D25F2-137C-4803-9927-947C57BF5F4D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D702D26-F2CA-444D-A87C-BC420B20145C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dirty="0"/>
            <a:t>CSOs are a core part of national health systems, not parallel actors</a:t>
          </a:r>
        </a:p>
      </dgm:t>
    </dgm:pt>
    <dgm:pt modelId="{551AE939-5B5A-43A4-89AC-039C76774367}" type="parTrans" cxnId="{1F83A3AD-8ADE-40FD-A96A-53BD5B977441}">
      <dgm:prSet/>
      <dgm:spPr/>
      <dgm:t>
        <a:bodyPr/>
        <a:lstStyle/>
        <a:p>
          <a:endParaRPr lang="en-US" sz="2400"/>
        </a:p>
      </dgm:t>
    </dgm:pt>
    <dgm:pt modelId="{B4991406-B6A0-4E15-8AB1-89E3CF844013}" type="sibTrans" cxnId="{1F83A3AD-8ADE-40FD-A96A-53BD5B977441}">
      <dgm:prSet/>
      <dgm:spPr/>
      <dgm:t>
        <a:bodyPr/>
        <a:lstStyle/>
        <a:p>
          <a:endParaRPr lang="en-US" sz="2400"/>
        </a:p>
      </dgm:t>
    </dgm:pt>
    <dgm:pt modelId="{2B7DDDCC-9480-4B0C-8BC1-D9F9F4DAB2C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/>
            <a:t>They reach zero-dose children and missed communities in hard-to-reach settings</a:t>
          </a:r>
          <a:endParaRPr lang="en-US" sz="2400" dirty="0"/>
        </a:p>
      </dgm:t>
    </dgm:pt>
    <dgm:pt modelId="{DCF1DB0E-9D76-4D0C-8931-F201E5633CA5}" type="parTrans" cxnId="{1BDB0FC7-6AFB-47E6-989F-6A6C594D5740}">
      <dgm:prSet/>
      <dgm:spPr/>
      <dgm:t>
        <a:bodyPr/>
        <a:lstStyle/>
        <a:p>
          <a:endParaRPr lang="en-US" sz="2400"/>
        </a:p>
      </dgm:t>
    </dgm:pt>
    <dgm:pt modelId="{7CE8BE95-0021-4EC5-8FDD-C3D6949C452B}" type="sibTrans" cxnId="{1BDB0FC7-6AFB-47E6-989F-6A6C594D5740}">
      <dgm:prSet/>
      <dgm:spPr/>
      <dgm:t>
        <a:bodyPr/>
        <a:lstStyle/>
        <a:p>
          <a:endParaRPr lang="en-US" sz="2400"/>
        </a:p>
      </dgm:t>
    </dgm:pt>
    <dgm:pt modelId="{CBCC5005-5FEE-42C5-BCA3-C9FB2D7B178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dirty="0"/>
            <a:t>They support vaccine delivery, build trust, and drive community engagement</a:t>
          </a:r>
        </a:p>
      </dgm:t>
    </dgm:pt>
    <dgm:pt modelId="{9983CD5E-BDE8-4C9E-A268-13B176D3C050}" type="parTrans" cxnId="{E9227B8D-1A64-4ADE-BF06-67C1D457F970}">
      <dgm:prSet/>
      <dgm:spPr/>
      <dgm:t>
        <a:bodyPr/>
        <a:lstStyle/>
        <a:p>
          <a:endParaRPr lang="en-US" sz="2400"/>
        </a:p>
      </dgm:t>
    </dgm:pt>
    <dgm:pt modelId="{E8CCCBA2-D08A-420C-A42E-2B6805FADFAC}" type="sibTrans" cxnId="{E9227B8D-1A64-4ADE-BF06-67C1D457F970}">
      <dgm:prSet/>
      <dgm:spPr/>
      <dgm:t>
        <a:bodyPr/>
        <a:lstStyle/>
        <a:p>
          <a:endParaRPr lang="en-US" sz="2400"/>
        </a:p>
      </dgm:t>
    </dgm:pt>
    <dgm:pt modelId="{DB9CCD9C-6AFF-46BC-99B7-8AC643947F61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/>
            <a:t>CSOs promote equity, amplify community voice, and strengthen accountability</a:t>
          </a:r>
          <a:endParaRPr lang="en-US" sz="2400" dirty="0"/>
        </a:p>
      </dgm:t>
    </dgm:pt>
    <dgm:pt modelId="{3891981B-F897-4E97-A34A-ADFDEFAE9200}" type="parTrans" cxnId="{74D29A4F-B4D6-41FE-AFE6-F269FEE17154}">
      <dgm:prSet/>
      <dgm:spPr/>
      <dgm:t>
        <a:bodyPr/>
        <a:lstStyle/>
        <a:p>
          <a:endParaRPr lang="en-US" sz="2400"/>
        </a:p>
      </dgm:t>
    </dgm:pt>
    <dgm:pt modelId="{127285EF-F2C5-4226-ADCC-746A7A4100C6}" type="sibTrans" cxnId="{74D29A4F-B4D6-41FE-AFE6-F269FEE17154}">
      <dgm:prSet/>
      <dgm:spPr/>
      <dgm:t>
        <a:bodyPr/>
        <a:lstStyle/>
        <a:p>
          <a:endParaRPr lang="en-US" sz="2400"/>
        </a:p>
      </dgm:t>
    </dgm:pt>
    <dgm:pt modelId="{8C3FA887-CE44-488D-A346-97BE04A2A83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dirty="0"/>
            <a:t>They help build local capacity and support sustainable, country-owned systems</a:t>
          </a:r>
        </a:p>
      </dgm:t>
    </dgm:pt>
    <dgm:pt modelId="{73C4B083-85D0-4C6D-BB15-CDF31C1B2B2C}" type="parTrans" cxnId="{C5E42D24-0E1B-4606-B7B4-0E3621F96F85}">
      <dgm:prSet/>
      <dgm:spPr/>
      <dgm:t>
        <a:bodyPr/>
        <a:lstStyle/>
        <a:p>
          <a:endParaRPr lang="en-US" sz="2400"/>
        </a:p>
      </dgm:t>
    </dgm:pt>
    <dgm:pt modelId="{A43636F9-FFB5-4987-AA93-3653E9860DD5}" type="sibTrans" cxnId="{C5E42D24-0E1B-4606-B7B4-0E3621F96F85}">
      <dgm:prSet/>
      <dgm:spPr/>
      <dgm:t>
        <a:bodyPr/>
        <a:lstStyle/>
        <a:p>
          <a:endParaRPr lang="en-US" sz="2400"/>
        </a:p>
      </dgm:t>
    </dgm:pt>
    <dgm:pt modelId="{A2D5A680-5793-4DD7-BD8A-9DFA87F499A7}" type="pres">
      <dgm:prSet presAssocID="{C64D25F2-137C-4803-9927-947C57BF5F4D}" presName="root" presStyleCnt="0">
        <dgm:presLayoutVars>
          <dgm:dir/>
          <dgm:resizeHandles val="exact"/>
        </dgm:presLayoutVars>
      </dgm:prSet>
      <dgm:spPr/>
    </dgm:pt>
    <dgm:pt modelId="{CF1228E8-D45E-4030-8833-25A073B64E99}" type="pres">
      <dgm:prSet presAssocID="{BD702D26-F2CA-444D-A87C-BC420B20145C}" presName="compNode" presStyleCnt="0"/>
      <dgm:spPr/>
    </dgm:pt>
    <dgm:pt modelId="{19D1CECE-D894-4B0E-A614-E58C471B82F8}" type="pres">
      <dgm:prSet presAssocID="{BD702D26-F2CA-444D-A87C-BC420B20145C}" presName="bgRect" presStyleLbl="bgShp" presStyleIdx="0" presStyleCnt="5"/>
      <dgm:spPr/>
    </dgm:pt>
    <dgm:pt modelId="{20A40727-00DB-438E-8232-E3B20EB5C6F0}" type="pres">
      <dgm:prSet presAssocID="{BD702D26-F2CA-444D-A87C-BC420B20145C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02501535-EEA5-4A7C-9CDB-2BC0052E1B1C}" type="pres">
      <dgm:prSet presAssocID="{BD702D26-F2CA-444D-A87C-BC420B20145C}" presName="spaceRect" presStyleCnt="0"/>
      <dgm:spPr/>
    </dgm:pt>
    <dgm:pt modelId="{1132C99E-F722-4A80-9A99-883846BC9739}" type="pres">
      <dgm:prSet presAssocID="{BD702D26-F2CA-444D-A87C-BC420B20145C}" presName="parTx" presStyleLbl="revTx" presStyleIdx="0" presStyleCnt="5">
        <dgm:presLayoutVars>
          <dgm:chMax val="0"/>
          <dgm:chPref val="0"/>
        </dgm:presLayoutVars>
      </dgm:prSet>
      <dgm:spPr/>
    </dgm:pt>
    <dgm:pt modelId="{CE8F929F-9AA8-4319-AD0B-08DB16BDD537}" type="pres">
      <dgm:prSet presAssocID="{B4991406-B6A0-4E15-8AB1-89E3CF844013}" presName="sibTrans" presStyleCnt="0"/>
      <dgm:spPr/>
    </dgm:pt>
    <dgm:pt modelId="{C13EB8D3-401C-4477-B114-E7C051F9953A}" type="pres">
      <dgm:prSet presAssocID="{2B7DDDCC-9480-4B0C-8BC1-D9F9F4DAB2C8}" presName="compNode" presStyleCnt="0"/>
      <dgm:spPr/>
    </dgm:pt>
    <dgm:pt modelId="{1AE10F61-8194-428C-8B45-63AF924ACA08}" type="pres">
      <dgm:prSet presAssocID="{2B7DDDCC-9480-4B0C-8BC1-D9F9F4DAB2C8}" presName="bgRect" presStyleLbl="bgShp" presStyleIdx="1" presStyleCnt="5"/>
      <dgm:spPr/>
    </dgm:pt>
    <dgm:pt modelId="{81EF7430-EA30-4A6D-A111-D3EB98C6663A}" type="pres">
      <dgm:prSet presAssocID="{2B7DDDCC-9480-4B0C-8BC1-D9F9F4DAB2C8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mbulance"/>
        </a:ext>
      </dgm:extLst>
    </dgm:pt>
    <dgm:pt modelId="{9B67DC1F-891B-446B-8114-819F1FE3051F}" type="pres">
      <dgm:prSet presAssocID="{2B7DDDCC-9480-4B0C-8BC1-D9F9F4DAB2C8}" presName="spaceRect" presStyleCnt="0"/>
      <dgm:spPr/>
    </dgm:pt>
    <dgm:pt modelId="{0C044C60-6C61-4A03-AD29-5CA4836349B2}" type="pres">
      <dgm:prSet presAssocID="{2B7DDDCC-9480-4B0C-8BC1-D9F9F4DAB2C8}" presName="parTx" presStyleLbl="revTx" presStyleIdx="1" presStyleCnt="5">
        <dgm:presLayoutVars>
          <dgm:chMax val="0"/>
          <dgm:chPref val="0"/>
        </dgm:presLayoutVars>
      </dgm:prSet>
      <dgm:spPr/>
    </dgm:pt>
    <dgm:pt modelId="{0023B5AC-AF40-4A57-881D-DE34C7F6F782}" type="pres">
      <dgm:prSet presAssocID="{7CE8BE95-0021-4EC5-8FDD-C3D6949C452B}" presName="sibTrans" presStyleCnt="0"/>
      <dgm:spPr/>
    </dgm:pt>
    <dgm:pt modelId="{056A9E5B-1184-427C-95A3-6A48FC469205}" type="pres">
      <dgm:prSet presAssocID="{CBCC5005-5FEE-42C5-BCA3-C9FB2D7B1784}" presName="compNode" presStyleCnt="0"/>
      <dgm:spPr/>
    </dgm:pt>
    <dgm:pt modelId="{1EC5230E-7E70-4B13-820B-4476D318BD9E}" type="pres">
      <dgm:prSet presAssocID="{CBCC5005-5FEE-42C5-BCA3-C9FB2D7B1784}" presName="bgRect" presStyleLbl="bgShp" presStyleIdx="2" presStyleCnt="5"/>
      <dgm:spPr/>
    </dgm:pt>
    <dgm:pt modelId="{53F78F3C-F689-4E65-8A17-383426EF5ADC}" type="pres">
      <dgm:prSet presAssocID="{CBCC5005-5FEE-42C5-BCA3-C9FB2D7B1784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eedle"/>
        </a:ext>
      </dgm:extLst>
    </dgm:pt>
    <dgm:pt modelId="{71F9F274-5695-48FE-A182-8F0361FB3CA5}" type="pres">
      <dgm:prSet presAssocID="{CBCC5005-5FEE-42C5-BCA3-C9FB2D7B1784}" presName="spaceRect" presStyleCnt="0"/>
      <dgm:spPr/>
    </dgm:pt>
    <dgm:pt modelId="{C195B108-8C7F-4EE9-B9C4-0573DE201F5E}" type="pres">
      <dgm:prSet presAssocID="{CBCC5005-5FEE-42C5-BCA3-C9FB2D7B1784}" presName="parTx" presStyleLbl="revTx" presStyleIdx="2" presStyleCnt="5">
        <dgm:presLayoutVars>
          <dgm:chMax val="0"/>
          <dgm:chPref val="0"/>
        </dgm:presLayoutVars>
      </dgm:prSet>
      <dgm:spPr/>
    </dgm:pt>
    <dgm:pt modelId="{B8B9C13A-2DB7-42EA-AB01-C59C80DEF570}" type="pres">
      <dgm:prSet presAssocID="{E8CCCBA2-D08A-420C-A42E-2B6805FADFAC}" presName="sibTrans" presStyleCnt="0"/>
      <dgm:spPr/>
    </dgm:pt>
    <dgm:pt modelId="{DA3984D6-B42D-4ED6-AEFC-93C0B52A86C1}" type="pres">
      <dgm:prSet presAssocID="{DB9CCD9C-6AFF-46BC-99B7-8AC643947F61}" presName="compNode" presStyleCnt="0"/>
      <dgm:spPr/>
    </dgm:pt>
    <dgm:pt modelId="{D86CA6EC-C4E6-4EBF-8B79-747DC994B8A6}" type="pres">
      <dgm:prSet presAssocID="{DB9CCD9C-6AFF-46BC-99B7-8AC643947F61}" presName="bgRect" presStyleLbl="bgShp" presStyleIdx="3" presStyleCnt="5"/>
      <dgm:spPr/>
    </dgm:pt>
    <dgm:pt modelId="{CB1077FA-BABF-4188-B09F-929BC58776E4}" type="pres">
      <dgm:prSet presAssocID="{DB9CCD9C-6AFF-46BC-99B7-8AC643947F61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gaphone"/>
        </a:ext>
      </dgm:extLst>
    </dgm:pt>
    <dgm:pt modelId="{8CA48053-9120-4B6F-B8E2-52ADFE1BA003}" type="pres">
      <dgm:prSet presAssocID="{DB9CCD9C-6AFF-46BC-99B7-8AC643947F61}" presName="spaceRect" presStyleCnt="0"/>
      <dgm:spPr/>
    </dgm:pt>
    <dgm:pt modelId="{B3ABCB18-F7AB-41BF-B8D5-D48335D0DC79}" type="pres">
      <dgm:prSet presAssocID="{DB9CCD9C-6AFF-46BC-99B7-8AC643947F61}" presName="parTx" presStyleLbl="revTx" presStyleIdx="3" presStyleCnt="5">
        <dgm:presLayoutVars>
          <dgm:chMax val="0"/>
          <dgm:chPref val="0"/>
        </dgm:presLayoutVars>
      </dgm:prSet>
      <dgm:spPr/>
    </dgm:pt>
    <dgm:pt modelId="{085BB458-4ADD-458F-9FCC-07AFA886B1E0}" type="pres">
      <dgm:prSet presAssocID="{127285EF-F2C5-4226-ADCC-746A7A4100C6}" presName="sibTrans" presStyleCnt="0"/>
      <dgm:spPr/>
    </dgm:pt>
    <dgm:pt modelId="{62807D33-4B8B-4B1A-AA6F-4765AE73A6BC}" type="pres">
      <dgm:prSet presAssocID="{8C3FA887-CE44-488D-A346-97BE04A2A834}" presName="compNode" presStyleCnt="0"/>
      <dgm:spPr/>
    </dgm:pt>
    <dgm:pt modelId="{79A2ABC8-1498-42A3-B4F3-17C3E90EB7AE}" type="pres">
      <dgm:prSet presAssocID="{8C3FA887-CE44-488D-A346-97BE04A2A834}" presName="bgRect" presStyleLbl="bgShp" presStyleIdx="4" presStyleCnt="5" custLinFactNeighborX="561" custLinFactNeighborY="-2921"/>
      <dgm:spPr/>
    </dgm:pt>
    <dgm:pt modelId="{E2F24877-A7F5-4D1C-9F47-16525C557256}" type="pres">
      <dgm:prSet presAssocID="{8C3FA887-CE44-488D-A346-97BE04A2A834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oup of people with solid fill"/>
        </a:ext>
      </dgm:extLst>
    </dgm:pt>
    <dgm:pt modelId="{4623B145-F07E-4168-B385-072E0BB5E28C}" type="pres">
      <dgm:prSet presAssocID="{8C3FA887-CE44-488D-A346-97BE04A2A834}" presName="spaceRect" presStyleCnt="0"/>
      <dgm:spPr/>
    </dgm:pt>
    <dgm:pt modelId="{9C5CB7DD-A0F5-4FA0-A47C-37AED086429B}" type="pres">
      <dgm:prSet presAssocID="{8C3FA887-CE44-488D-A346-97BE04A2A834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C5E42D24-0E1B-4606-B7B4-0E3621F96F85}" srcId="{C64D25F2-137C-4803-9927-947C57BF5F4D}" destId="{8C3FA887-CE44-488D-A346-97BE04A2A834}" srcOrd="4" destOrd="0" parTransId="{73C4B083-85D0-4C6D-BB15-CDF31C1B2B2C}" sibTransId="{A43636F9-FFB5-4987-AA93-3653E9860DD5}"/>
    <dgm:cxn modelId="{74D29A4F-B4D6-41FE-AFE6-F269FEE17154}" srcId="{C64D25F2-137C-4803-9927-947C57BF5F4D}" destId="{DB9CCD9C-6AFF-46BC-99B7-8AC643947F61}" srcOrd="3" destOrd="0" parTransId="{3891981B-F897-4E97-A34A-ADFDEFAE9200}" sibTransId="{127285EF-F2C5-4226-ADCC-746A7A4100C6}"/>
    <dgm:cxn modelId="{D6BDBF84-C5BE-4CD7-9B38-38534FBE05E0}" type="presOf" srcId="{CBCC5005-5FEE-42C5-BCA3-C9FB2D7B1784}" destId="{C195B108-8C7F-4EE9-B9C4-0573DE201F5E}" srcOrd="0" destOrd="0" presId="urn:microsoft.com/office/officeart/2018/2/layout/IconVerticalSolidList"/>
    <dgm:cxn modelId="{6CE79488-4750-4D1F-8568-D54D2EE16D59}" type="presOf" srcId="{8C3FA887-CE44-488D-A346-97BE04A2A834}" destId="{9C5CB7DD-A0F5-4FA0-A47C-37AED086429B}" srcOrd="0" destOrd="0" presId="urn:microsoft.com/office/officeart/2018/2/layout/IconVerticalSolidList"/>
    <dgm:cxn modelId="{E9227B8D-1A64-4ADE-BF06-67C1D457F970}" srcId="{C64D25F2-137C-4803-9927-947C57BF5F4D}" destId="{CBCC5005-5FEE-42C5-BCA3-C9FB2D7B1784}" srcOrd="2" destOrd="0" parTransId="{9983CD5E-BDE8-4C9E-A268-13B176D3C050}" sibTransId="{E8CCCBA2-D08A-420C-A42E-2B6805FADFAC}"/>
    <dgm:cxn modelId="{9DA075A6-7172-4B96-9792-6B7256995D1D}" type="presOf" srcId="{2B7DDDCC-9480-4B0C-8BC1-D9F9F4DAB2C8}" destId="{0C044C60-6C61-4A03-AD29-5CA4836349B2}" srcOrd="0" destOrd="0" presId="urn:microsoft.com/office/officeart/2018/2/layout/IconVerticalSolidList"/>
    <dgm:cxn modelId="{405535A7-F216-45BD-9B2F-8E92856DC311}" type="presOf" srcId="{DB9CCD9C-6AFF-46BC-99B7-8AC643947F61}" destId="{B3ABCB18-F7AB-41BF-B8D5-D48335D0DC79}" srcOrd="0" destOrd="0" presId="urn:microsoft.com/office/officeart/2018/2/layout/IconVerticalSolidList"/>
    <dgm:cxn modelId="{1F83A3AD-8ADE-40FD-A96A-53BD5B977441}" srcId="{C64D25F2-137C-4803-9927-947C57BF5F4D}" destId="{BD702D26-F2CA-444D-A87C-BC420B20145C}" srcOrd="0" destOrd="0" parTransId="{551AE939-5B5A-43A4-89AC-039C76774367}" sibTransId="{B4991406-B6A0-4E15-8AB1-89E3CF844013}"/>
    <dgm:cxn modelId="{D1343BB3-8753-4C18-9271-B47F9C633E10}" type="presOf" srcId="{BD702D26-F2CA-444D-A87C-BC420B20145C}" destId="{1132C99E-F722-4A80-9A99-883846BC9739}" srcOrd="0" destOrd="0" presId="urn:microsoft.com/office/officeart/2018/2/layout/IconVerticalSolidList"/>
    <dgm:cxn modelId="{1BDB0FC7-6AFB-47E6-989F-6A6C594D5740}" srcId="{C64D25F2-137C-4803-9927-947C57BF5F4D}" destId="{2B7DDDCC-9480-4B0C-8BC1-D9F9F4DAB2C8}" srcOrd="1" destOrd="0" parTransId="{DCF1DB0E-9D76-4D0C-8931-F201E5633CA5}" sibTransId="{7CE8BE95-0021-4EC5-8FDD-C3D6949C452B}"/>
    <dgm:cxn modelId="{CE983AFF-5F82-4426-ABF4-2E40A13C657C}" type="presOf" srcId="{C64D25F2-137C-4803-9927-947C57BF5F4D}" destId="{A2D5A680-5793-4DD7-BD8A-9DFA87F499A7}" srcOrd="0" destOrd="0" presId="urn:microsoft.com/office/officeart/2018/2/layout/IconVerticalSolidList"/>
    <dgm:cxn modelId="{954F21A1-337D-48F4-BC56-55EAD8517853}" type="presParOf" srcId="{A2D5A680-5793-4DD7-BD8A-9DFA87F499A7}" destId="{CF1228E8-D45E-4030-8833-25A073B64E99}" srcOrd="0" destOrd="0" presId="urn:microsoft.com/office/officeart/2018/2/layout/IconVerticalSolidList"/>
    <dgm:cxn modelId="{7B97BEEC-9A36-4A4E-84CB-63280348EBC4}" type="presParOf" srcId="{CF1228E8-D45E-4030-8833-25A073B64E99}" destId="{19D1CECE-D894-4B0E-A614-E58C471B82F8}" srcOrd="0" destOrd="0" presId="urn:microsoft.com/office/officeart/2018/2/layout/IconVerticalSolidList"/>
    <dgm:cxn modelId="{24990A71-D72D-4EF7-96E4-8CB6DFC14531}" type="presParOf" srcId="{CF1228E8-D45E-4030-8833-25A073B64E99}" destId="{20A40727-00DB-438E-8232-E3B20EB5C6F0}" srcOrd="1" destOrd="0" presId="urn:microsoft.com/office/officeart/2018/2/layout/IconVerticalSolidList"/>
    <dgm:cxn modelId="{DDA55A33-7F78-4E30-98EC-41E4A6DD9E3B}" type="presParOf" srcId="{CF1228E8-D45E-4030-8833-25A073B64E99}" destId="{02501535-EEA5-4A7C-9CDB-2BC0052E1B1C}" srcOrd="2" destOrd="0" presId="urn:microsoft.com/office/officeart/2018/2/layout/IconVerticalSolidList"/>
    <dgm:cxn modelId="{B7B1C579-EBCA-4C4D-A046-5BD0E356AF8C}" type="presParOf" srcId="{CF1228E8-D45E-4030-8833-25A073B64E99}" destId="{1132C99E-F722-4A80-9A99-883846BC9739}" srcOrd="3" destOrd="0" presId="urn:microsoft.com/office/officeart/2018/2/layout/IconVerticalSolidList"/>
    <dgm:cxn modelId="{48BD5E00-2BB0-458F-9BCC-183E4D3B6F12}" type="presParOf" srcId="{A2D5A680-5793-4DD7-BD8A-9DFA87F499A7}" destId="{CE8F929F-9AA8-4319-AD0B-08DB16BDD537}" srcOrd="1" destOrd="0" presId="urn:microsoft.com/office/officeart/2018/2/layout/IconVerticalSolidList"/>
    <dgm:cxn modelId="{D5154916-BC48-4178-86D3-62BC4548E41B}" type="presParOf" srcId="{A2D5A680-5793-4DD7-BD8A-9DFA87F499A7}" destId="{C13EB8D3-401C-4477-B114-E7C051F9953A}" srcOrd="2" destOrd="0" presId="urn:microsoft.com/office/officeart/2018/2/layout/IconVerticalSolidList"/>
    <dgm:cxn modelId="{1A2861FD-6CB1-4F7E-9DA4-F2716F7D71DC}" type="presParOf" srcId="{C13EB8D3-401C-4477-B114-E7C051F9953A}" destId="{1AE10F61-8194-428C-8B45-63AF924ACA08}" srcOrd="0" destOrd="0" presId="urn:microsoft.com/office/officeart/2018/2/layout/IconVerticalSolidList"/>
    <dgm:cxn modelId="{D73DA61A-F4D5-4D3E-90D4-58AB86512896}" type="presParOf" srcId="{C13EB8D3-401C-4477-B114-E7C051F9953A}" destId="{81EF7430-EA30-4A6D-A111-D3EB98C6663A}" srcOrd="1" destOrd="0" presId="urn:microsoft.com/office/officeart/2018/2/layout/IconVerticalSolidList"/>
    <dgm:cxn modelId="{AF355CAA-9710-418A-8A31-94A5B2B88CCB}" type="presParOf" srcId="{C13EB8D3-401C-4477-B114-E7C051F9953A}" destId="{9B67DC1F-891B-446B-8114-819F1FE3051F}" srcOrd="2" destOrd="0" presId="urn:microsoft.com/office/officeart/2018/2/layout/IconVerticalSolidList"/>
    <dgm:cxn modelId="{A71E894F-72F7-4CF8-B107-B5344A45E6E4}" type="presParOf" srcId="{C13EB8D3-401C-4477-B114-E7C051F9953A}" destId="{0C044C60-6C61-4A03-AD29-5CA4836349B2}" srcOrd="3" destOrd="0" presId="urn:microsoft.com/office/officeart/2018/2/layout/IconVerticalSolidList"/>
    <dgm:cxn modelId="{383BBCFE-E1B8-4C7A-8AF4-1C4B8E30CADD}" type="presParOf" srcId="{A2D5A680-5793-4DD7-BD8A-9DFA87F499A7}" destId="{0023B5AC-AF40-4A57-881D-DE34C7F6F782}" srcOrd="3" destOrd="0" presId="urn:microsoft.com/office/officeart/2018/2/layout/IconVerticalSolidList"/>
    <dgm:cxn modelId="{1191440D-D12B-4E3A-A0E9-8C19422E8C81}" type="presParOf" srcId="{A2D5A680-5793-4DD7-BD8A-9DFA87F499A7}" destId="{056A9E5B-1184-427C-95A3-6A48FC469205}" srcOrd="4" destOrd="0" presId="urn:microsoft.com/office/officeart/2018/2/layout/IconVerticalSolidList"/>
    <dgm:cxn modelId="{DCCA6127-3B8D-4CB9-8E7D-2F6647AC8B50}" type="presParOf" srcId="{056A9E5B-1184-427C-95A3-6A48FC469205}" destId="{1EC5230E-7E70-4B13-820B-4476D318BD9E}" srcOrd="0" destOrd="0" presId="urn:microsoft.com/office/officeart/2018/2/layout/IconVerticalSolidList"/>
    <dgm:cxn modelId="{1F6CA525-C6C5-486A-A5EB-ABADF4138D11}" type="presParOf" srcId="{056A9E5B-1184-427C-95A3-6A48FC469205}" destId="{53F78F3C-F689-4E65-8A17-383426EF5ADC}" srcOrd="1" destOrd="0" presId="urn:microsoft.com/office/officeart/2018/2/layout/IconVerticalSolidList"/>
    <dgm:cxn modelId="{20274FD1-7D24-42A8-92B4-D745A3FAEEC3}" type="presParOf" srcId="{056A9E5B-1184-427C-95A3-6A48FC469205}" destId="{71F9F274-5695-48FE-A182-8F0361FB3CA5}" srcOrd="2" destOrd="0" presId="urn:microsoft.com/office/officeart/2018/2/layout/IconVerticalSolidList"/>
    <dgm:cxn modelId="{598C0204-8F1F-4BDD-9D86-38018ECEA90A}" type="presParOf" srcId="{056A9E5B-1184-427C-95A3-6A48FC469205}" destId="{C195B108-8C7F-4EE9-B9C4-0573DE201F5E}" srcOrd="3" destOrd="0" presId="urn:microsoft.com/office/officeart/2018/2/layout/IconVerticalSolidList"/>
    <dgm:cxn modelId="{2022B182-43E7-422D-9001-43ED15722C8F}" type="presParOf" srcId="{A2D5A680-5793-4DD7-BD8A-9DFA87F499A7}" destId="{B8B9C13A-2DB7-42EA-AB01-C59C80DEF570}" srcOrd="5" destOrd="0" presId="urn:microsoft.com/office/officeart/2018/2/layout/IconVerticalSolidList"/>
    <dgm:cxn modelId="{503CBB76-DBE5-4804-93A4-42D37E416124}" type="presParOf" srcId="{A2D5A680-5793-4DD7-BD8A-9DFA87F499A7}" destId="{DA3984D6-B42D-4ED6-AEFC-93C0B52A86C1}" srcOrd="6" destOrd="0" presId="urn:microsoft.com/office/officeart/2018/2/layout/IconVerticalSolidList"/>
    <dgm:cxn modelId="{80889981-9C33-4427-9BDA-C6A0CE1EEB6C}" type="presParOf" srcId="{DA3984D6-B42D-4ED6-AEFC-93C0B52A86C1}" destId="{D86CA6EC-C4E6-4EBF-8B79-747DC994B8A6}" srcOrd="0" destOrd="0" presId="urn:microsoft.com/office/officeart/2018/2/layout/IconVerticalSolidList"/>
    <dgm:cxn modelId="{A45C074B-559B-4268-8C15-4A25EF0935AE}" type="presParOf" srcId="{DA3984D6-B42D-4ED6-AEFC-93C0B52A86C1}" destId="{CB1077FA-BABF-4188-B09F-929BC58776E4}" srcOrd="1" destOrd="0" presId="urn:microsoft.com/office/officeart/2018/2/layout/IconVerticalSolidList"/>
    <dgm:cxn modelId="{69BBCAF3-09A0-452E-9B17-F73768D5B22C}" type="presParOf" srcId="{DA3984D6-B42D-4ED6-AEFC-93C0B52A86C1}" destId="{8CA48053-9120-4B6F-B8E2-52ADFE1BA003}" srcOrd="2" destOrd="0" presId="urn:microsoft.com/office/officeart/2018/2/layout/IconVerticalSolidList"/>
    <dgm:cxn modelId="{FFB3239C-0792-4093-8C94-9E267811CFDC}" type="presParOf" srcId="{DA3984D6-B42D-4ED6-AEFC-93C0B52A86C1}" destId="{B3ABCB18-F7AB-41BF-B8D5-D48335D0DC79}" srcOrd="3" destOrd="0" presId="urn:microsoft.com/office/officeart/2018/2/layout/IconVerticalSolidList"/>
    <dgm:cxn modelId="{6513DBA6-FAE2-4685-90B0-9B4D80988A3F}" type="presParOf" srcId="{A2D5A680-5793-4DD7-BD8A-9DFA87F499A7}" destId="{085BB458-4ADD-458F-9FCC-07AFA886B1E0}" srcOrd="7" destOrd="0" presId="urn:microsoft.com/office/officeart/2018/2/layout/IconVerticalSolidList"/>
    <dgm:cxn modelId="{D6B4CEB8-9E9B-491C-B193-7989CE4E2AD2}" type="presParOf" srcId="{A2D5A680-5793-4DD7-BD8A-9DFA87F499A7}" destId="{62807D33-4B8B-4B1A-AA6F-4765AE73A6BC}" srcOrd="8" destOrd="0" presId="urn:microsoft.com/office/officeart/2018/2/layout/IconVerticalSolidList"/>
    <dgm:cxn modelId="{AC9A7EB8-3EA5-43CC-8325-49A7629B5069}" type="presParOf" srcId="{62807D33-4B8B-4B1A-AA6F-4765AE73A6BC}" destId="{79A2ABC8-1498-42A3-B4F3-17C3E90EB7AE}" srcOrd="0" destOrd="0" presId="urn:microsoft.com/office/officeart/2018/2/layout/IconVerticalSolidList"/>
    <dgm:cxn modelId="{89C93326-35E9-451D-A39B-0050DC98B15A}" type="presParOf" srcId="{62807D33-4B8B-4B1A-AA6F-4765AE73A6BC}" destId="{E2F24877-A7F5-4D1C-9F47-16525C557256}" srcOrd="1" destOrd="0" presId="urn:microsoft.com/office/officeart/2018/2/layout/IconVerticalSolidList"/>
    <dgm:cxn modelId="{5D271B02-2E2F-4F67-9E04-F200AA60FE1C}" type="presParOf" srcId="{62807D33-4B8B-4B1A-AA6F-4765AE73A6BC}" destId="{4623B145-F07E-4168-B385-072E0BB5E28C}" srcOrd="2" destOrd="0" presId="urn:microsoft.com/office/officeart/2018/2/layout/IconVerticalSolidList"/>
    <dgm:cxn modelId="{3BD73E1A-F5F4-4BFE-A486-3D20836846D6}" type="presParOf" srcId="{62807D33-4B8B-4B1A-AA6F-4765AE73A6BC}" destId="{9C5CB7DD-A0F5-4FA0-A47C-37AED086429B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D1CECE-D894-4B0E-A614-E58C471B82F8}">
      <dsp:nvSpPr>
        <dsp:cNvPr id="0" name=""/>
        <dsp:cNvSpPr/>
      </dsp:nvSpPr>
      <dsp:spPr>
        <a:xfrm>
          <a:off x="0" y="3414"/>
          <a:ext cx="11153775" cy="72725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A40727-00DB-438E-8232-E3B20EB5C6F0}">
      <dsp:nvSpPr>
        <dsp:cNvPr id="0" name=""/>
        <dsp:cNvSpPr/>
      </dsp:nvSpPr>
      <dsp:spPr>
        <a:xfrm>
          <a:off x="219996" y="167047"/>
          <a:ext cx="399992" cy="39999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32C99E-F722-4A80-9A99-883846BC9739}">
      <dsp:nvSpPr>
        <dsp:cNvPr id="0" name=""/>
        <dsp:cNvSpPr/>
      </dsp:nvSpPr>
      <dsp:spPr>
        <a:xfrm>
          <a:off x="839985" y="3414"/>
          <a:ext cx="10313789" cy="7272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968" tIns="76968" rIns="76968" bIns="7696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SOs are a core part of national health systems, not parallel actors</a:t>
          </a:r>
        </a:p>
      </dsp:txBody>
      <dsp:txXfrm>
        <a:off x="839985" y="3414"/>
        <a:ext cx="10313789" cy="727259"/>
      </dsp:txXfrm>
    </dsp:sp>
    <dsp:sp modelId="{1AE10F61-8194-428C-8B45-63AF924ACA08}">
      <dsp:nvSpPr>
        <dsp:cNvPr id="0" name=""/>
        <dsp:cNvSpPr/>
      </dsp:nvSpPr>
      <dsp:spPr>
        <a:xfrm>
          <a:off x="0" y="912489"/>
          <a:ext cx="11153775" cy="72725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EF7430-EA30-4A6D-A111-D3EB98C6663A}">
      <dsp:nvSpPr>
        <dsp:cNvPr id="0" name=""/>
        <dsp:cNvSpPr/>
      </dsp:nvSpPr>
      <dsp:spPr>
        <a:xfrm>
          <a:off x="219996" y="1076122"/>
          <a:ext cx="399992" cy="39999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044C60-6C61-4A03-AD29-5CA4836349B2}">
      <dsp:nvSpPr>
        <dsp:cNvPr id="0" name=""/>
        <dsp:cNvSpPr/>
      </dsp:nvSpPr>
      <dsp:spPr>
        <a:xfrm>
          <a:off x="839985" y="912489"/>
          <a:ext cx="10313789" cy="7272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968" tIns="76968" rIns="76968" bIns="7696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They reach zero-dose children and missed communities in hard-to-reach settings</a:t>
          </a:r>
          <a:endParaRPr lang="en-US" sz="2400" kern="1200" dirty="0"/>
        </a:p>
      </dsp:txBody>
      <dsp:txXfrm>
        <a:off x="839985" y="912489"/>
        <a:ext cx="10313789" cy="727259"/>
      </dsp:txXfrm>
    </dsp:sp>
    <dsp:sp modelId="{1EC5230E-7E70-4B13-820B-4476D318BD9E}">
      <dsp:nvSpPr>
        <dsp:cNvPr id="0" name=""/>
        <dsp:cNvSpPr/>
      </dsp:nvSpPr>
      <dsp:spPr>
        <a:xfrm>
          <a:off x="0" y="1821564"/>
          <a:ext cx="11153775" cy="72725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F78F3C-F689-4E65-8A17-383426EF5ADC}">
      <dsp:nvSpPr>
        <dsp:cNvPr id="0" name=""/>
        <dsp:cNvSpPr/>
      </dsp:nvSpPr>
      <dsp:spPr>
        <a:xfrm>
          <a:off x="219996" y="1985197"/>
          <a:ext cx="399992" cy="39999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95B108-8C7F-4EE9-B9C4-0573DE201F5E}">
      <dsp:nvSpPr>
        <dsp:cNvPr id="0" name=""/>
        <dsp:cNvSpPr/>
      </dsp:nvSpPr>
      <dsp:spPr>
        <a:xfrm>
          <a:off x="839985" y="1821564"/>
          <a:ext cx="10313789" cy="7272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968" tIns="76968" rIns="76968" bIns="7696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hey support vaccine delivery, build trust, and drive community engagement</a:t>
          </a:r>
        </a:p>
      </dsp:txBody>
      <dsp:txXfrm>
        <a:off x="839985" y="1821564"/>
        <a:ext cx="10313789" cy="727259"/>
      </dsp:txXfrm>
    </dsp:sp>
    <dsp:sp modelId="{D86CA6EC-C4E6-4EBF-8B79-747DC994B8A6}">
      <dsp:nvSpPr>
        <dsp:cNvPr id="0" name=""/>
        <dsp:cNvSpPr/>
      </dsp:nvSpPr>
      <dsp:spPr>
        <a:xfrm>
          <a:off x="0" y="2730638"/>
          <a:ext cx="11153775" cy="72725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1077FA-BABF-4188-B09F-929BC58776E4}">
      <dsp:nvSpPr>
        <dsp:cNvPr id="0" name=""/>
        <dsp:cNvSpPr/>
      </dsp:nvSpPr>
      <dsp:spPr>
        <a:xfrm>
          <a:off x="219996" y="2894272"/>
          <a:ext cx="399992" cy="399992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ABCB18-F7AB-41BF-B8D5-D48335D0DC79}">
      <dsp:nvSpPr>
        <dsp:cNvPr id="0" name=""/>
        <dsp:cNvSpPr/>
      </dsp:nvSpPr>
      <dsp:spPr>
        <a:xfrm>
          <a:off x="839985" y="2730638"/>
          <a:ext cx="10313789" cy="7272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968" tIns="76968" rIns="76968" bIns="7696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CSOs promote equity, amplify community voice, and strengthen accountability</a:t>
          </a:r>
          <a:endParaRPr lang="en-US" sz="2400" kern="1200" dirty="0"/>
        </a:p>
      </dsp:txBody>
      <dsp:txXfrm>
        <a:off x="839985" y="2730638"/>
        <a:ext cx="10313789" cy="727259"/>
      </dsp:txXfrm>
    </dsp:sp>
    <dsp:sp modelId="{79A2ABC8-1498-42A3-B4F3-17C3E90EB7AE}">
      <dsp:nvSpPr>
        <dsp:cNvPr id="0" name=""/>
        <dsp:cNvSpPr/>
      </dsp:nvSpPr>
      <dsp:spPr>
        <a:xfrm>
          <a:off x="0" y="3618470"/>
          <a:ext cx="11153775" cy="72725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F24877-A7F5-4D1C-9F47-16525C557256}">
      <dsp:nvSpPr>
        <dsp:cNvPr id="0" name=""/>
        <dsp:cNvSpPr/>
      </dsp:nvSpPr>
      <dsp:spPr>
        <a:xfrm>
          <a:off x="219996" y="3803347"/>
          <a:ext cx="399992" cy="399992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5CB7DD-A0F5-4FA0-A47C-37AED086429B}">
      <dsp:nvSpPr>
        <dsp:cNvPr id="0" name=""/>
        <dsp:cNvSpPr/>
      </dsp:nvSpPr>
      <dsp:spPr>
        <a:xfrm>
          <a:off x="839985" y="3639713"/>
          <a:ext cx="10313789" cy="7272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968" tIns="76968" rIns="76968" bIns="7696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hey help build local capacity and support sustainable, country-owned systems</a:t>
          </a:r>
        </a:p>
      </dsp:txBody>
      <dsp:txXfrm>
        <a:off x="839985" y="3639713"/>
        <a:ext cx="10313789" cy="7272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EAE5B8-1887-744D-B3C4-E3B6006B5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8A97F-06D7-884B-8B46-968602B43C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55DCC0-6116-C243-966D-E1A927F582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C2D543-721A-CF4A-A41A-C589B71FF5FE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87907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46B02DF4-D578-9E44-A905-1D4F1D9996EB}" type="datetimeFigureOut">
              <a:rPr lang="en-GB" smtClean="0"/>
              <a:pPr/>
              <a:t>15/08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4C5B49A3-D38C-2F4A-9EF6-13EF087A7D7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590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18750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827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strike="sngStrike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16522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spcAft>
                <a:spcPts val="600"/>
              </a:spcAft>
              <a:buFont typeface="Arial,Sans-Serif"/>
              <a:buNone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2519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813C94-28BC-4E98-9B88-E9C9C554F40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72361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83E6F8-8695-4C25-86D4-E2B63C889D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59001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85505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D46C37-174A-9C95-F9F2-106CBE7104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CF0199-E9A0-6A6D-5293-E1F7B064AA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D93050-4580-1B62-675A-EB0C4ECE93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 lvl="0" indent="-228600" algn="just">
              <a:lnSpc>
                <a:spcPct val="115000"/>
              </a:lnSpc>
              <a:spcBef>
                <a:spcPts val="10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endParaRPr lang="en-US" sz="12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D61F7E-43BE-0D47-AE1A-782C05D4E9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B659BD-F027-4DE6-B23C-795A59CCEA4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15905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0740B-BBE4-873C-C6A8-169446FC3D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7DC513-BC20-7637-C469-75BBB340FE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24F813-6DF0-A354-7C5E-8A6180DB3A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AA2BA-79E8-B567-2671-73EDFF554F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03269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928D45-00A7-D397-685E-BD9EF04084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441CC5-A2FE-B994-1900-C62ED41D43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2BFB10-9472-60BB-9506-AAACFFFB0A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08FEAF-4DB3-7FEB-BA6E-17CCF85732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09020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10024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98330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4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81826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4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8692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26216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84020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39832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57362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62701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03029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4789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image" Target="../media/image29.png"/><Relationship Id="rId4" Type="http://schemas.openxmlformats.org/officeDocument/2006/relationships/image" Target="../media/image24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24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24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24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24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24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2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24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24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24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24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24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7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33.svg"/><Relationship Id="rId7" Type="http://schemas.openxmlformats.org/officeDocument/2006/relationships/image" Target="../media/image3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11" Type="http://schemas.openxmlformats.org/officeDocument/2006/relationships/image" Target="../media/image37.svg"/><Relationship Id="rId5" Type="http://schemas.openxmlformats.org/officeDocument/2006/relationships/image" Target="../media/image34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36.sv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9.sv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0.svg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1.sv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33.svg"/><Relationship Id="rId7" Type="http://schemas.openxmlformats.org/officeDocument/2006/relationships/image" Target="../media/image3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png"/><Relationship Id="rId11" Type="http://schemas.openxmlformats.org/officeDocument/2006/relationships/image" Target="../media/image37.svg"/><Relationship Id="rId5" Type="http://schemas.openxmlformats.org/officeDocument/2006/relationships/image" Target="../media/image34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36.sv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9.svg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0.sv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0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.xml"/><Relationship Id="rId6" Type="http://schemas.openxmlformats.org/officeDocument/2006/relationships/image" Target="../media/image3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8.bin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0.svg"/><Relationship Id="rId7" Type="http://schemas.openxmlformats.org/officeDocument/2006/relationships/image" Target="../media/image1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3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0.svg"/><Relationship Id="rId7" Type="http://schemas.openxmlformats.org/officeDocument/2006/relationships/image" Target="../media/image1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3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1920394"/>
            <a:ext cx="7964947" cy="234609"/>
          </a:xfrm>
        </p:spPr>
        <p:txBody>
          <a:bodyPr>
            <a:normAutofit/>
          </a:bodyPr>
          <a:lstStyle>
            <a:lvl1pPr>
              <a:defRPr sz="16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605179"/>
            <a:ext cx="11154344" cy="192903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6302341"/>
            <a:ext cx="5832475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10367425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</p:spTree>
    <p:extLst>
      <p:ext uri="{BB962C8B-B14F-4D97-AF65-F5344CB8AC3E}">
        <p14:creationId xmlns:p14="http://schemas.microsoft.com/office/powerpoint/2010/main" val="4079169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343EB15E-A314-36FE-8F19-4C79176CF3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2264571 w 6096001"/>
              <a:gd name="connsiteY0" fmla="*/ 1883188 h 6858000"/>
              <a:gd name="connsiteX1" fmla="*/ 2167943 w 6096001"/>
              <a:gd name="connsiteY1" fmla="*/ 3625805 h 6858000"/>
              <a:gd name="connsiteX2" fmla="*/ 2578239 w 6096001"/>
              <a:gd name="connsiteY2" fmla="*/ 3754069 h 6858000"/>
              <a:gd name="connsiteX3" fmla="*/ 3056918 w 6096001"/>
              <a:gd name="connsiteY3" fmla="*/ 3625805 h 6858000"/>
              <a:gd name="connsiteX4" fmla="*/ 3638171 w 6096001"/>
              <a:gd name="connsiteY4" fmla="*/ 4124117 h 6858000"/>
              <a:gd name="connsiteX5" fmla="*/ 3047999 w 6096001"/>
              <a:gd name="connsiteY5" fmla="*/ 4644543 h 6858000"/>
              <a:gd name="connsiteX6" fmla="*/ 2222946 w 6096001"/>
              <a:gd name="connsiteY6" fmla="*/ 4342313 h 6858000"/>
              <a:gd name="connsiteX7" fmla="*/ 1933063 w 6096001"/>
              <a:gd name="connsiteY7" fmla="*/ 4822933 h 6858000"/>
              <a:gd name="connsiteX8" fmla="*/ 3058405 w 6096001"/>
              <a:gd name="connsiteY8" fmla="*/ 5175290 h 6858000"/>
              <a:gd name="connsiteX9" fmla="*/ 4229830 w 6096001"/>
              <a:gd name="connsiteY9" fmla="*/ 4110849 h 6858000"/>
              <a:gd name="connsiteX10" fmla="*/ 3178818 w 6096001"/>
              <a:gd name="connsiteY10" fmla="*/ 3114225 h 6858000"/>
              <a:gd name="connsiteX11" fmla="*/ 2689733 w 6096001"/>
              <a:gd name="connsiteY11" fmla="*/ 3214477 h 6858000"/>
              <a:gd name="connsiteX12" fmla="*/ 2744736 w 6096001"/>
              <a:gd name="connsiteY12" fmla="*/ 2409511 h 6858000"/>
              <a:gd name="connsiteX13" fmla="*/ 4026169 w 6096001"/>
              <a:gd name="connsiteY13" fmla="*/ 2409511 h 6858000"/>
              <a:gd name="connsiteX14" fmla="*/ 4026169 w 6096001"/>
              <a:gd name="connsiteY14" fmla="*/ 1883188 h 6858000"/>
              <a:gd name="connsiteX15" fmla="*/ 0 w 6096001"/>
              <a:gd name="connsiteY15" fmla="*/ 0 h 6858000"/>
              <a:gd name="connsiteX16" fmla="*/ 5214397 w 6096001"/>
              <a:gd name="connsiteY16" fmla="*/ 0 h 6858000"/>
              <a:gd name="connsiteX17" fmla="*/ 6096001 w 6096001"/>
              <a:gd name="connsiteY17" fmla="*/ 881604 h 6858000"/>
              <a:gd name="connsiteX18" fmla="*/ 6096001 w 6096001"/>
              <a:gd name="connsiteY18" fmla="*/ 6858000 h 6858000"/>
              <a:gd name="connsiteX19" fmla="*/ 0 w 6096001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1" h="6858000">
                <a:moveTo>
                  <a:pt x="2264571" y="1883188"/>
                </a:moveTo>
                <a:lnTo>
                  <a:pt x="2167943" y="3625805"/>
                </a:lnTo>
                <a:lnTo>
                  <a:pt x="2578239" y="3754069"/>
                </a:lnTo>
                <a:cubicBezTo>
                  <a:pt x="2706085" y="3671508"/>
                  <a:pt x="2863663" y="3625805"/>
                  <a:pt x="3056918" y="3625805"/>
                </a:cubicBezTo>
                <a:cubicBezTo>
                  <a:pt x="3412211" y="3625805"/>
                  <a:pt x="3638171" y="3814515"/>
                  <a:pt x="3638171" y="4124117"/>
                </a:cubicBezTo>
                <a:cubicBezTo>
                  <a:pt x="3638171" y="4433719"/>
                  <a:pt x="3412211" y="4644543"/>
                  <a:pt x="3047999" y="4644543"/>
                </a:cubicBezTo>
                <a:cubicBezTo>
                  <a:pt x="2720951" y="4644543"/>
                  <a:pt x="2435527" y="4511857"/>
                  <a:pt x="2222946" y="4342313"/>
                </a:cubicBezTo>
                <a:lnTo>
                  <a:pt x="1933063" y="4822933"/>
                </a:lnTo>
                <a:cubicBezTo>
                  <a:pt x="2173889" y="5024912"/>
                  <a:pt x="2542561" y="5175290"/>
                  <a:pt x="3058405" y="5175290"/>
                </a:cubicBezTo>
                <a:cubicBezTo>
                  <a:pt x="3755611" y="5175290"/>
                  <a:pt x="4229830" y="4728578"/>
                  <a:pt x="4229830" y="4110849"/>
                </a:cubicBezTo>
                <a:cubicBezTo>
                  <a:pt x="4229830" y="3493119"/>
                  <a:pt x="3801695" y="3114225"/>
                  <a:pt x="3178818" y="3114225"/>
                </a:cubicBezTo>
                <a:cubicBezTo>
                  <a:pt x="3007861" y="3114225"/>
                  <a:pt x="2810146" y="3155505"/>
                  <a:pt x="2689733" y="3214477"/>
                </a:cubicBezTo>
                <a:lnTo>
                  <a:pt x="2744736" y="2409511"/>
                </a:lnTo>
                <a:lnTo>
                  <a:pt x="4026169" y="2409511"/>
                </a:lnTo>
                <a:lnTo>
                  <a:pt x="4026169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44E4F9BB-131C-DA11-8330-1278532DD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26A6169B-562B-8F66-2B5C-19489101B6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117389960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7"/>
          <a:ext cx="11007612" cy="3618727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3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3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3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3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6" y="2278197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8" y="222114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9" y="222114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1" y="222114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6" y="222114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6" y="1818875"/>
            <a:ext cx="2767427" cy="300443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5" y="1818875"/>
            <a:ext cx="2746295" cy="300443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2" y="1818875"/>
            <a:ext cx="2745959" cy="300443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2" y="1818875"/>
            <a:ext cx="2773719" cy="300443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3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6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3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46717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6" y="2265318"/>
          <a:ext cx="11007615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3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3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3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3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3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6" y="2265316"/>
            <a:ext cx="11042015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8" y="220826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7" y="220826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8" y="1805995"/>
            <a:ext cx="2217229" cy="300443"/>
          </a:xfrm>
        </p:spPr>
        <p:txBody>
          <a:bodyPr lIns="108000" rIns="288000" anchor="b" anchorCtr="0"/>
          <a:lstStyle>
            <a:lvl1pPr>
              <a:defRPr sz="1699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3" y="1805995"/>
            <a:ext cx="2200300" cy="300443"/>
          </a:xfrm>
        </p:spPr>
        <p:txBody>
          <a:bodyPr lIns="108000" rIns="288000" anchor="b" anchorCtr="0"/>
          <a:lstStyle>
            <a:lvl1pPr>
              <a:defRPr sz="1699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3" y="2567721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7" y="2567721"/>
            <a:ext cx="2193483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21" y="220826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7" y="1805995"/>
            <a:ext cx="2200300" cy="300443"/>
          </a:xfrm>
        </p:spPr>
        <p:txBody>
          <a:bodyPr lIns="108000" rIns="288000" anchor="b" anchorCtr="0"/>
          <a:lstStyle>
            <a:lvl1pPr>
              <a:defRPr sz="1699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1" y="2567721"/>
            <a:ext cx="2193483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3" y="220826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9" y="1805995"/>
            <a:ext cx="2200300" cy="300443"/>
          </a:xfrm>
        </p:spPr>
        <p:txBody>
          <a:bodyPr lIns="108000" rIns="288000" anchor="b" anchorCtr="0"/>
          <a:lstStyle>
            <a:lvl1pPr>
              <a:defRPr sz="1699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3" y="2567721"/>
            <a:ext cx="2193483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5" y="220826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2" y="1805995"/>
            <a:ext cx="2200300" cy="300443"/>
          </a:xfrm>
        </p:spPr>
        <p:txBody>
          <a:bodyPr lIns="108000" rIns="288000" anchor="b" anchorCtr="0"/>
          <a:lstStyle>
            <a:lvl1pPr>
              <a:defRPr sz="1699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1"/>
            <a:ext cx="2193483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249123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9" y="2265318"/>
          <a:ext cx="11007618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3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3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3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3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3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3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6" y="2265317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8" y="220826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8" y="1805995"/>
            <a:ext cx="1807577" cy="300443"/>
          </a:xfrm>
        </p:spPr>
        <p:txBody>
          <a:bodyPr lIns="72000" rIns="288000" anchor="b" anchorCtr="0"/>
          <a:lstStyle>
            <a:lvl1pPr>
              <a:defRPr sz="1699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1"/>
            <a:ext cx="1789311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21" y="220826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81" y="1805995"/>
            <a:ext cx="1807577" cy="300443"/>
          </a:xfrm>
        </p:spPr>
        <p:txBody>
          <a:bodyPr lIns="72000" rIns="288000" anchor="b" anchorCtr="0"/>
          <a:lstStyle>
            <a:lvl1pPr>
              <a:defRPr sz="1699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1" y="2567721"/>
            <a:ext cx="1789311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4" y="220826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4" y="1805995"/>
            <a:ext cx="1807577" cy="300443"/>
          </a:xfrm>
        </p:spPr>
        <p:txBody>
          <a:bodyPr lIns="72000" rIns="288000" anchor="b" anchorCtr="0"/>
          <a:lstStyle>
            <a:lvl1pPr>
              <a:defRPr sz="1699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1"/>
            <a:ext cx="1789311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41" y="220826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1" y="1805995"/>
            <a:ext cx="1807577" cy="300443"/>
          </a:xfrm>
        </p:spPr>
        <p:txBody>
          <a:bodyPr lIns="72000" rIns="288000" anchor="b" anchorCtr="0"/>
          <a:lstStyle>
            <a:lvl1pPr>
              <a:defRPr sz="1699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1" y="2567721"/>
            <a:ext cx="1789311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6" y="220826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5" y="1805995"/>
            <a:ext cx="1807577" cy="300443"/>
          </a:xfrm>
        </p:spPr>
        <p:txBody>
          <a:bodyPr lIns="72000" rIns="288000" anchor="b" anchorCtr="0"/>
          <a:lstStyle>
            <a:lvl1pPr>
              <a:defRPr sz="1699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6" y="2567721"/>
            <a:ext cx="1789311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8" y="2208266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7" y="1805995"/>
            <a:ext cx="1807577" cy="300443"/>
          </a:xfrm>
        </p:spPr>
        <p:txBody>
          <a:bodyPr lIns="72000" rIns="288000" anchor="b" anchorCtr="0"/>
          <a:lstStyle>
            <a:lvl1pPr>
              <a:defRPr sz="1699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8" y="2567721"/>
            <a:ext cx="1789311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882613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7"/>
          <a:ext cx="11007612" cy="3618727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3" marR="174643" marT="218275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6" y="2278197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8" y="2221146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9" y="2221146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1" y="2221146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6" y="2221146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6" y="1818875"/>
            <a:ext cx="2767427" cy="300443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5" y="1818875"/>
            <a:ext cx="2746295" cy="300443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2" y="1818875"/>
            <a:ext cx="2745959" cy="300443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2" y="1818875"/>
            <a:ext cx="2773719" cy="300443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41" y="2583185"/>
            <a:ext cx="8012329" cy="380748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1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5" y="2474445"/>
            <a:ext cx="2451893" cy="608144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1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2998740"/>
            <a:ext cx="2477399" cy="608144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1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6" y="3112438"/>
            <a:ext cx="8012329" cy="380748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1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3" y="3636733"/>
            <a:ext cx="10779795" cy="380748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1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027"/>
            <a:ext cx="9537643" cy="380748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1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3" y="4685321"/>
            <a:ext cx="3986411" cy="38074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1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295648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1" cy="59277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9" y="2081214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61750235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9" y="1304926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404156612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9" y="2186942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6"/>
            <a:ext cx="11144931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417780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21" y="368300"/>
            <a:ext cx="5574281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2" y="366372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0925054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21" y="368300"/>
            <a:ext cx="5574281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2" y="366372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5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364229401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3860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3" cy="1163607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3" cy="1163607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7" y="1915486"/>
            <a:ext cx="3355743" cy="1163607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7" y="4175447"/>
            <a:ext cx="3355743" cy="1163607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5567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1BA5AB5-3C92-5003-411D-080017FB62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7268 w 6096001"/>
              <a:gd name="connsiteY0" fmla="*/ 3517274 h 6858000"/>
              <a:gd name="connsiteX1" fmla="*/ 3608256 w 6096001"/>
              <a:gd name="connsiteY1" fmla="*/ 4024085 h 6858000"/>
              <a:gd name="connsiteX2" fmla="*/ 3609649 w 6096001"/>
              <a:gd name="connsiteY2" fmla="*/ 4025458 h 6858000"/>
              <a:gd name="connsiteX3" fmla="*/ 3064725 w 6096001"/>
              <a:gd name="connsiteY3" fmla="*/ 4548751 h 6858000"/>
              <a:gd name="connsiteX4" fmla="*/ 2503076 w 6096001"/>
              <a:gd name="connsiteY4" fmla="*/ 3973266 h 6858000"/>
              <a:gd name="connsiteX5" fmla="*/ 3077268 w 6096001"/>
              <a:gd name="connsiteY5" fmla="*/ 3517274 h 6858000"/>
              <a:gd name="connsiteX6" fmla="*/ 3834030 w 6096001"/>
              <a:gd name="connsiteY6" fmla="*/ 1925421 h 6858000"/>
              <a:gd name="connsiteX7" fmla="*/ 1945608 w 6096001"/>
              <a:gd name="connsiteY7" fmla="*/ 3731535 h 6858000"/>
              <a:gd name="connsiteX8" fmla="*/ 3085630 w 6096001"/>
              <a:gd name="connsiteY8" fmla="*/ 5025345 h 6858000"/>
              <a:gd name="connsiteX9" fmla="*/ 4148999 w 6096001"/>
              <a:gd name="connsiteY9" fmla="*/ 4015844 h 6858000"/>
              <a:gd name="connsiteX10" fmla="*/ 4150393 w 6096001"/>
              <a:gd name="connsiteY10" fmla="*/ 4015844 h 6858000"/>
              <a:gd name="connsiteX11" fmla="*/ 3195730 w 6096001"/>
              <a:gd name="connsiteY11" fmla="*/ 3083257 h 6858000"/>
              <a:gd name="connsiteX12" fmla="*/ 2525374 w 6096001"/>
              <a:gd name="connsiteY12" fmla="*/ 3338723 h 6858000"/>
              <a:gd name="connsiteX13" fmla="*/ 3946917 w 6096001"/>
              <a:gd name="connsiteY13" fmla="*/ 2402015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7268" y="3517274"/>
                </a:moveTo>
                <a:cubicBezTo>
                  <a:pt x="3396418" y="3517274"/>
                  <a:pt x="3608256" y="3704066"/>
                  <a:pt x="3608256" y="4024085"/>
                </a:cubicBezTo>
                <a:lnTo>
                  <a:pt x="3609649" y="4025458"/>
                </a:lnTo>
                <a:cubicBezTo>
                  <a:pt x="3609649" y="4352344"/>
                  <a:pt x="3379694" y="4548751"/>
                  <a:pt x="3064725" y="4548751"/>
                </a:cubicBezTo>
                <a:cubicBezTo>
                  <a:pt x="2727457" y="4548751"/>
                  <a:pt x="2503076" y="4293285"/>
                  <a:pt x="2503076" y="3973266"/>
                </a:cubicBezTo>
                <a:cubicBezTo>
                  <a:pt x="2503076" y="3691705"/>
                  <a:pt x="2779022" y="3517274"/>
                  <a:pt x="3077268" y="3517274"/>
                </a:cubicBezTo>
                <a:close/>
                <a:moveTo>
                  <a:pt x="3834030" y="1925421"/>
                </a:moveTo>
                <a:cubicBezTo>
                  <a:pt x="2503076" y="1967999"/>
                  <a:pt x="1945608" y="2776973"/>
                  <a:pt x="1945608" y="3731535"/>
                </a:cubicBezTo>
                <a:cubicBezTo>
                  <a:pt x="1945608" y="4574847"/>
                  <a:pt x="2416668" y="5025345"/>
                  <a:pt x="3085630" y="5025345"/>
                </a:cubicBezTo>
                <a:cubicBezTo>
                  <a:pt x="3700238" y="5025345"/>
                  <a:pt x="4148999" y="4616051"/>
                  <a:pt x="4148999" y="4015844"/>
                </a:cubicBezTo>
                <a:lnTo>
                  <a:pt x="4150393" y="4015844"/>
                </a:lnTo>
                <a:cubicBezTo>
                  <a:pt x="4150393" y="3432119"/>
                  <a:pt x="3730899" y="3083257"/>
                  <a:pt x="3195730" y="3083257"/>
                </a:cubicBezTo>
                <a:cubicBezTo>
                  <a:pt x="2897484" y="3083257"/>
                  <a:pt x="2654986" y="3210990"/>
                  <a:pt x="2525374" y="3338723"/>
                </a:cubicBezTo>
                <a:cubicBezTo>
                  <a:pt x="2710732" y="2700059"/>
                  <a:pt x="3160888" y="2436352"/>
                  <a:pt x="3946917" y="24020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7BB44742-AE3F-8E84-7834-7B05B9090F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7B5AA4FE-F153-D70D-DFCB-AA26BFD8A1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5340034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2" y="1711995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8" y="1711995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3" y="1711995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6" y="1711995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1" y="1711995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9" y="3155669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2" y="3155669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8" y="3155669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3" y="3155668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6" y="3155669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1" y="3155668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9" y="4599458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2" y="4599458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8" y="4599458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3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6" y="4599458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1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198973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9" y="1711995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9" y="2791091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9" y="3870187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5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9" y="4949285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60" y="1711995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60" y="2791091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60" y="3870187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5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60" y="4949285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2" y="1711995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2" y="2791091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2" y="3870187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5"/>
            <a:ext cx="840423" cy="8404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2" y="4949285"/>
            <a:ext cx="2396513" cy="840423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100"/>
            </a:lvl2pPr>
            <a:lvl3pPr marL="914377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73758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1"/>
            <a:ext cx="11144931" cy="4204608"/>
          </a:xfrm>
        </p:spPr>
        <p:txBody>
          <a:bodyPr numCol="2" spcCol="360000">
            <a:normAutofit/>
          </a:bodyPr>
          <a:lstStyle>
            <a:lvl1pPr marL="457189" indent="-457189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280089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20" y="368300"/>
            <a:ext cx="6275323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1"/>
            <a:ext cx="5376371" cy="4204608"/>
          </a:xfrm>
        </p:spPr>
        <p:txBody>
          <a:bodyPr numCol="1" spcCol="360000">
            <a:normAutofit/>
          </a:bodyPr>
          <a:lstStyle>
            <a:lvl1pPr marL="457189" indent="-45718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8" y="1708831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40" y="366372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2653499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56774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210412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8380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1880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6546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45CF2AFF-6382-CC47-A9B2-6962575BD2A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0061CA4A-3267-0A05-192C-5D4306FFB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1A9FCAB2-BA25-DBAB-7A6E-265C863487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7706435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1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21E2CB-391E-E74E-90AE-4B5A47140739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>
              <a:latin typeface="Arial" panose="020B0604020202020204" pitchFamily="34" charset="0"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F82B885-0103-7D42-AE00-61FB2FE0C2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22951 w 6096001"/>
              <a:gd name="connsiteY0" fmla="*/ 1876235 h 6858000"/>
              <a:gd name="connsiteX1" fmla="*/ 2208500 w 6096001"/>
              <a:gd name="connsiteY1" fmla="*/ 2461578 h 6858000"/>
              <a:gd name="connsiteX2" fmla="*/ 2208500 w 6096001"/>
              <a:gd name="connsiteY2" fmla="*/ 2993835 h 6858000"/>
              <a:gd name="connsiteX3" fmla="*/ 2859036 w 6096001"/>
              <a:gd name="connsiteY3" fmla="*/ 2643188 h 6858000"/>
              <a:gd name="connsiteX4" fmla="*/ 2859036 w 6096001"/>
              <a:gd name="connsiteY4" fmla="*/ 4981766 h 6858000"/>
              <a:gd name="connsiteX5" fmla="*/ 3371270 w 6096001"/>
              <a:gd name="connsiteY5" fmla="*/ 4981766 h 6858000"/>
              <a:gd name="connsiteX6" fmla="*/ 3371270 w 6096001"/>
              <a:gd name="connsiteY6" fmla="*/ 1876235 h 6858000"/>
              <a:gd name="connsiteX7" fmla="*/ 0 w 6096001"/>
              <a:gd name="connsiteY7" fmla="*/ 0 h 6858000"/>
              <a:gd name="connsiteX8" fmla="*/ 5214397 w 6096001"/>
              <a:gd name="connsiteY8" fmla="*/ 0 h 6858000"/>
              <a:gd name="connsiteX9" fmla="*/ 6096001 w 6096001"/>
              <a:gd name="connsiteY9" fmla="*/ 881604 h 6858000"/>
              <a:gd name="connsiteX10" fmla="*/ 6096001 w 6096001"/>
              <a:gd name="connsiteY10" fmla="*/ 6858000 h 6858000"/>
              <a:gd name="connsiteX11" fmla="*/ 0 w 609600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1" h="6858000">
                <a:moveTo>
                  <a:pt x="3022951" y="1876235"/>
                </a:moveTo>
                <a:cubicBezTo>
                  <a:pt x="2752748" y="2187766"/>
                  <a:pt x="2482545" y="2379155"/>
                  <a:pt x="2208500" y="2461578"/>
                </a:cubicBezTo>
                <a:lnTo>
                  <a:pt x="2208500" y="2993835"/>
                </a:lnTo>
                <a:cubicBezTo>
                  <a:pt x="2426199" y="2942146"/>
                  <a:pt x="2640057" y="2824798"/>
                  <a:pt x="2859036" y="2643188"/>
                </a:cubicBezTo>
                <a:lnTo>
                  <a:pt x="2859036" y="4981766"/>
                </a:lnTo>
                <a:lnTo>
                  <a:pt x="3371270" y="4981766"/>
                </a:lnTo>
                <a:lnTo>
                  <a:pt x="3371270" y="1876235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EC50268-B292-A44F-BED3-2C5DBBD260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F9D1ECA4-2E76-AFCB-1752-45EC49E126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210A6CFC-9DAE-801C-CBAB-81E6DC1F9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79274384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+ Image 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AEA1B93-DB0B-33C4-6C50-8FD2474CA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218999 w 6096001"/>
              <a:gd name="connsiteY0" fmla="*/ 2668987 h 6858000"/>
              <a:gd name="connsiteX1" fmla="*/ 3218999 w 6096001"/>
              <a:gd name="connsiteY1" fmla="*/ 3752595 h 6858000"/>
              <a:gd name="connsiteX2" fmla="*/ 2442001 w 6096001"/>
              <a:gd name="connsiteY2" fmla="*/ 3752595 h 6858000"/>
              <a:gd name="connsiteX3" fmla="*/ 3218999 w 6096001"/>
              <a:gd name="connsiteY3" fmla="*/ 1883188 h 6858000"/>
              <a:gd name="connsiteX4" fmla="*/ 1820976 w 6096001"/>
              <a:gd name="connsiteY4" fmla="*/ 3839578 h 6858000"/>
              <a:gd name="connsiteX5" fmla="*/ 1820976 w 6096001"/>
              <a:gd name="connsiteY5" fmla="*/ 4242061 h 6858000"/>
              <a:gd name="connsiteX6" fmla="*/ 3218999 w 6096001"/>
              <a:gd name="connsiteY6" fmla="*/ 4242061 h 6858000"/>
              <a:gd name="connsiteX7" fmla="*/ 3218999 w 6096001"/>
              <a:gd name="connsiteY7" fmla="*/ 5164970 h 6858000"/>
              <a:gd name="connsiteX8" fmla="*/ 3791372 w 6096001"/>
              <a:gd name="connsiteY8" fmla="*/ 5164970 h 6858000"/>
              <a:gd name="connsiteX9" fmla="*/ 3791372 w 6096001"/>
              <a:gd name="connsiteY9" fmla="*/ 4242061 h 6858000"/>
              <a:gd name="connsiteX10" fmla="*/ 4275028 w 6096001"/>
              <a:gd name="connsiteY10" fmla="*/ 4242061 h 6858000"/>
              <a:gd name="connsiteX11" fmla="*/ 4275028 w 6096001"/>
              <a:gd name="connsiteY11" fmla="*/ 3752595 h 6858000"/>
              <a:gd name="connsiteX12" fmla="*/ 3791372 w 6096001"/>
              <a:gd name="connsiteY12" fmla="*/ 3752595 h 6858000"/>
              <a:gd name="connsiteX13" fmla="*/ 3791372 w 6096001"/>
              <a:gd name="connsiteY13" fmla="*/ 1883188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218999" y="2668987"/>
                </a:moveTo>
                <a:lnTo>
                  <a:pt x="3218999" y="3752595"/>
                </a:lnTo>
                <a:lnTo>
                  <a:pt x="2442001" y="3752595"/>
                </a:lnTo>
                <a:close/>
                <a:moveTo>
                  <a:pt x="3218999" y="1883188"/>
                </a:moveTo>
                <a:lnTo>
                  <a:pt x="1820976" y="3839578"/>
                </a:lnTo>
                <a:lnTo>
                  <a:pt x="1820976" y="4242061"/>
                </a:lnTo>
                <a:lnTo>
                  <a:pt x="3218999" y="4242061"/>
                </a:lnTo>
                <a:lnTo>
                  <a:pt x="3218999" y="5164970"/>
                </a:lnTo>
                <a:lnTo>
                  <a:pt x="3791372" y="5164970"/>
                </a:lnTo>
                <a:lnTo>
                  <a:pt x="3791372" y="4242061"/>
                </a:lnTo>
                <a:lnTo>
                  <a:pt x="4275028" y="4242061"/>
                </a:lnTo>
                <a:lnTo>
                  <a:pt x="4275028" y="3752595"/>
                </a:lnTo>
                <a:lnTo>
                  <a:pt x="3791372" y="3752595"/>
                </a:lnTo>
                <a:lnTo>
                  <a:pt x="3791372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3314B818-1A45-4088-0941-EB7C6968EA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5C3A23D4-78BE-16F7-8E29-ADEBA311D0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410199752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FD_02_bleu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5157788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8" y="5265204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  <p:pic>
        <p:nvPicPr>
          <p:cNvPr id="20" name="Image 19" descr="Bas_couv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5172520"/>
            <a:ext cx="4847167" cy="1685480"/>
          </a:xfrm>
          <a:prstGeom prst="rect">
            <a:avLst/>
          </a:prstGeom>
        </p:spPr>
      </p:pic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419" y="1036800"/>
            <a:ext cx="6432549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4419" y="3585600"/>
            <a:ext cx="6432548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000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24417" y="524188"/>
            <a:ext cx="6432551" cy="360000"/>
          </a:xfrm>
        </p:spPr>
        <p:txBody>
          <a:bodyPr/>
          <a:lstStyle>
            <a:lvl1pPr algn="l"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847168" y="6021388"/>
            <a:ext cx="6817784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847167" y="6354203"/>
            <a:ext cx="6817784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0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624417" y="3391895"/>
            <a:ext cx="326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</p:spTree>
    <p:extLst>
      <p:ext uri="{BB962C8B-B14F-4D97-AF65-F5344CB8AC3E}">
        <p14:creationId xmlns:p14="http://schemas.microsoft.com/office/powerpoint/2010/main" val="95121696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FD_1_L254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" y="0"/>
            <a:ext cx="12192000" cy="5157788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8" y="5265204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  <p:pic>
        <p:nvPicPr>
          <p:cNvPr id="20" name="Image 19" descr="Bas_couv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5172520"/>
            <a:ext cx="4847167" cy="1685480"/>
          </a:xfrm>
          <a:prstGeom prst="rect">
            <a:avLst/>
          </a:prstGeom>
        </p:spPr>
      </p:pic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000" y="1036800"/>
            <a:ext cx="6432549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4419" y="3585600"/>
            <a:ext cx="4790400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000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24417" y="524188"/>
            <a:ext cx="6432551" cy="360000"/>
          </a:xfrm>
        </p:spPr>
        <p:txBody>
          <a:bodyPr/>
          <a:lstStyle>
            <a:lvl1pPr algn="l"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847168" y="6021388"/>
            <a:ext cx="6817784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847167" y="6354203"/>
            <a:ext cx="6817784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0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  <p:sp>
        <p:nvSpPr>
          <p:cNvPr id="18" name="Espace réservé pour une image  17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590117" y="0"/>
            <a:ext cx="6601883" cy="5162400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1412" h="5157788">
                <a:moveTo>
                  <a:pt x="2706687" y="0"/>
                </a:moveTo>
                <a:lnTo>
                  <a:pt x="4951412" y="0"/>
                </a:lnTo>
                <a:lnTo>
                  <a:pt x="4951412" y="5157788"/>
                </a:lnTo>
                <a:lnTo>
                  <a:pt x="0" y="5153180"/>
                </a:lnTo>
                <a:cubicBezTo>
                  <a:pt x="84411" y="4542509"/>
                  <a:pt x="183041" y="4024723"/>
                  <a:pt x="1243508" y="2562613"/>
                </a:cubicBezTo>
                <a:cubicBezTo>
                  <a:pt x="1867447" y="1704780"/>
                  <a:pt x="2665955" y="709265"/>
                  <a:pt x="2706687" y="0"/>
                </a:cubicBezTo>
                <a:close/>
              </a:path>
            </a:pathLst>
          </a:custGeom>
          <a:solidFill>
            <a:schemeClr val="bg2"/>
          </a:solidFill>
          <a:ln w="3175">
            <a:noFill/>
          </a:ln>
        </p:spPr>
        <p:txBody>
          <a:bodyPr tIns="720000" anchor="ctr" anchorCtr="0"/>
          <a:lstStyle>
            <a:lvl1pPr algn="ctr"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24417" y="3391895"/>
            <a:ext cx="326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</p:spTree>
    <p:extLst>
      <p:ext uri="{BB962C8B-B14F-4D97-AF65-F5344CB8AC3E}">
        <p14:creationId xmlns:p14="http://schemas.microsoft.com/office/powerpoint/2010/main" val="403749222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E4A209-9A0F-41D6-8EDC-C53E93982E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06434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E4A209-9A0F-41D6-8EDC-C53E93982E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Image 17" descr="FD_03_chap_110x190,5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5279136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47166" y="1036639"/>
            <a:ext cx="6193367" cy="1268759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47167" y="2574000"/>
            <a:ext cx="6193367" cy="3447388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39974"/>
            <a:ext cx="3504000" cy="5017814"/>
          </a:xfrm>
        </p:spPr>
        <p:txBody>
          <a:bodyPr/>
          <a:lstStyle>
            <a:lvl1pPr algn="r">
              <a:defRPr sz="16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848000" y="2377741"/>
            <a:ext cx="2111557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</p:spTree>
    <p:extLst>
      <p:ext uri="{BB962C8B-B14F-4D97-AF65-F5344CB8AC3E}">
        <p14:creationId xmlns:p14="http://schemas.microsoft.com/office/powerpoint/2010/main" val="98829058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Picture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BC93C1-75DA-4825-B125-1C0E223E4C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124427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BC93C1-75DA-4825-B125-1C0E223E4C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847861" y="1304926"/>
            <a:ext cx="6192672" cy="471646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9" name="Espace réservé pour une image 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341438"/>
            <a:ext cx="4558717" cy="467995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</p:spTree>
    <p:extLst>
      <p:ext uri="{BB962C8B-B14F-4D97-AF65-F5344CB8AC3E}">
        <p14:creationId xmlns:p14="http://schemas.microsoft.com/office/powerpoint/2010/main" val="232988757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B29E4-757A-4A07-A36B-6968B8FB4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24258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B29E4-757A-4A07-A36B-6968B8FB4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1246717" y="1304926"/>
            <a:ext cx="4752000" cy="471646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288533" y="1304926"/>
            <a:ext cx="4752000" cy="471646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78362041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ext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5ED53B1-E169-4303-AA3F-C59DC8CB9C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295850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5ED53B1-E169-4303-AA3F-C59DC8CB9C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1246717" y="2781388"/>
            <a:ext cx="9793816" cy="324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6717" y="1304924"/>
            <a:ext cx="9793816" cy="1260000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</p:spTree>
    <p:extLst>
      <p:ext uri="{BB962C8B-B14F-4D97-AF65-F5344CB8AC3E}">
        <p14:creationId xmlns:p14="http://schemas.microsoft.com/office/powerpoint/2010/main" val="371380983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ext&amp;Content&amp;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622579B-0567-4508-80AC-90F455B3B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304820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622579B-0567-4508-80AC-90F455B3B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1246717" y="2781388"/>
            <a:ext cx="5856000" cy="324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6717" y="1304924"/>
            <a:ext cx="9793816" cy="1260000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392533" y="2781388"/>
            <a:ext cx="3648000" cy="324000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312166273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ext&amp;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05927A-6B3A-485E-95BB-9F563FA74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351967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05927A-6B3A-485E-95BB-9F563FA74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1246717" y="2781388"/>
            <a:ext cx="4752000" cy="324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6717" y="1304924"/>
            <a:ext cx="9793816" cy="1260000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7" hasCustomPrompt="1"/>
          </p:nvPr>
        </p:nvSpPr>
        <p:spPr bwMode="gray">
          <a:xfrm>
            <a:off x="6288533" y="2781388"/>
            <a:ext cx="4752000" cy="324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180148383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ext&amp;3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DFAB2E-9183-430E-BDA4-849F8DFD8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104494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DFAB2E-9183-430E-BDA4-849F8DFD8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1246717" y="2781388"/>
            <a:ext cx="3072000" cy="324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6717" y="1304924"/>
            <a:ext cx="9793816" cy="1260000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7" hasCustomPrompt="1"/>
          </p:nvPr>
        </p:nvSpPr>
        <p:spPr bwMode="gray">
          <a:xfrm>
            <a:off x="4607625" y="2781388"/>
            <a:ext cx="3072000" cy="324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8" hasCustomPrompt="1"/>
          </p:nvPr>
        </p:nvSpPr>
        <p:spPr bwMode="gray">
          <a:xfrm>
            <a:off x="7968533" y="2781388"/>
            <a:ext cx="3072000" cy="324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37522176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2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8B3FAE-10BA-7845-921A-76D948055D40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>
              <a:latin typeface="Arial" panose="020B0604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1AEB3A9-DC85-414C-A1EF-308330C069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85EFCE5-1951-3242-A232-F252911C4E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8800 w 6096001"/>
              <a:gd name="connsiteY0" fmla="*/ 1892300 h 6858000"/>
              <a:gd name="connsiteX1" fmla="*/ 2003079 w 6096001"/>
              <a:gd name="connsiteY1" fmla="*/ 2443193 h 6858000"/>
              <a:gd name="connsiteX2" fmla="*/ 2435905 w 6096001"/>
              <a:gd name="connsiteY2" fmla="*/ 2746603 h 6858000"/>
              <a:gd name="connsiteX3" fmla="*/ 3026635 w 6096001"/>
              <a:gd name="connsiteY3" fmla="*/ 2408238 h 6858000"/>
              <a:gd name="connsiteX4" fmla="*/ 3472150 w 6096001"/>
              <a:gd name="connsiteY4" fmla="*/ 2777364 h 6858000"/>
              <a:gd name="connsiteX5" fmla="*/ 2825026 w 6096001"/>
              <a:gd name="connsiteY5" fmla="*/ 3514218 h 6858000"/>
              <a:gd name="connsiteX6" fmla="*/ 1986161 w 6096001"/>
              <a:gd name="connsiteY6" fmla="*/ 4857893 h 6858000"/>
              <a:gd name="connsiteX7" fmla="*/ 1986161 w 6096001"/>
              <a:gd name="connsiteY7" fmla="*/ 5014492 h 6858000"/>
              <a:gd name="connsiteX8" fmla="*/ 4102356 w 6096001"/>
              <a:gd name="connsiteY8" fmla="*/ 5014492 h 6858000"/>
              <a:gd name="connsiteX9" fmla="*/ 4102356 w 6096001"/>
              <a:gd name="connsiteY9" fmla="*/ 4515333 h 6858000"/>
              <a:gd name="connsiteX10" fmla="*/ 2614957 w 6096001"/>
              <a:gd name="connsiteY10" fmla="*/ 4515333 h 6858000"/>
              <a:gd name="connsiteX11" fmla="*/ 3301557 w 6096001"/>
              <a:gd name="connsiteY11" fmla="*/ 3809239 h 6858000"/>
              <a:gd name="connsiteX12" fmla="*/ 4053011 w 6096001"/>
              <a:gd name="connsiteY12" fmla="*/ 2750798 h 6858000"/>
              <a:gd name="connsiteX13" fmla="*/ 3078800 w 6096001"/>
              <a:gd name="connsiteY13" fmla="*/ 1892300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8800" y="1892300"/>
                </a:moveTo>
                <a:cubicBezTo>
                  <a:pt x="2571252" y="1892300"/>
                  <a:pt x="2235706" y="2082456"/>
                  <a:pt x="2003079" y="2443193"/>
                </a:cubicBezTo>
                <a:lnTo>
                  <a:pt x="2435905" y="2746603"/>
                </a:lnTo>
                <a:cubicBezTo>
                  <a:pt x="2576891" y="2529882"/>
                  <a:pt x="2768632" y="2408238"/>
                  <a:pt x="3026635" y="2408238"/>
                </a:cubicBezTo>
                <a:cubicBezTo>
                  <a:pt x="3318476" y="2408238"/>
                  <a:pt x="3472150" y="2556447"/>
                  <a:pt x="3472150" y="2777364"/>
                </a:cubicBezTo>
                <a:cubicBezTo>
                  <a:pt x="3472150" y="3020651"/>
                  <a:pt x="3301557" y="3198224"/>
                  <a:pt x="2825026" y="3514218"/>
                </a:cubicBezTo>
                <a:cubicBezTo>
                  <a:pt x="2231476" y="3916901"/>
                  <a:pt x="1986161" y="4315389"/>
                  <a:pt x="1986161" y="4857893"/>
                </a:cubicBezTo>
                <a:lnTo>
                  <a:pt x="1986161" y="5014492"/>
                </a:lnTo>
                <a:lnTo>
                  <a:pt x="4102356" y="5014492"/>
                </a:lnTo>
                <a:lnTo>
                  <a:pt x="4102356" y="4515333"/>
                </a:lnTo>
                <a:lnTo>
                  <a:pt x="2614957" y="4515333"/>
                </a:lnTo>
                <a:cubicBezTo>
                  <a:pt x="2645974" y="4346150"/>
                  <a:pt x="2891289" y="4081889"/>
                  <a:pt x="3301557" y="3809239"/>
                </a:cubicBezTo>
                <a:cubicBezTo>
                  <a:pt x="3834483" y="3456891"/>
                  <a:pt x="4053011" y="3175852"/>
                  <a:pt x="4053011" y="2750798"/>
                </a:cubicBezTo>
                <a:cubicBezTo>
                  <a:pt x="4053011" y="2255833"/>
                  <a:pt x="3646972" y="1892300"/>
                  <a:pt x="3078800" y="1892300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29">
            <a:extLst>
              <a:ext uri="{FF2B5EF4-FFF2-40B4-BE49-F238E27FC236}">
                <a16:creationId xmlns:a16="http://schemas.microsoft.com/office/drawing/2014/main" id="{06A0666E-A97D-1003-AAE7-6FAEBACEBC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098A54B8-9E40-BE44-A31D-00E6FC191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71449114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DDBF28-16FE-4E31-99DE-F9E3CAAA3D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04110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DDBF28-16FE-4E31-99DE-F9E3CAAA3D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1246717" y="1304924"/>
            <a:ext cx="4752000" cy="225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288533" y="1304925"/>
            <a:ext cx="4752000" cy="225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1246717" y="3771388"/>
            <a:ext cx="4752000" cy="225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6288533" y="3771388"/>
            <a:ext cx="4752000" cy="225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08691005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54F9C9-0BEB-4582-91F9-973481CD5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350159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54F9C9-0BEB-4582-91F9-973481CD5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1246717" y="1341438"/>
            <a:ext cx="9793816" cy="467995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364810680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ext&amp;4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B9E292-DBA2-46B2-8DFA-09E5C550EA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8320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FB9E292-DBA2-46B2-8DFA-09E5C550E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6717" y="1304924"/>
            <a:ext cx="9793816" cy="936626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246717" y="2241550"/>
            <a:ext cx="4752000" cy="324000"/>
          </a:xfr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6717" y="2565550"/>
            <a:ext cx="4752000" cy="1350000"/>
          </a:xfrm>
          <a:ln w="9525">
            <a:solidFill>
              <a:schemeClr val="accent1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88533" y="2241550"/>
            <a:ext cx="4752000" cy="324000"/>
          </a:xfr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88533" y="2565550"/>
            <a:ext cx="4752000" cy="1350000"/>
          </a:xfrm>
          <a:ln w="9525">
            <a:solidFill>
              <a:schemeClr val="accent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5" name="Espace réservé du texte 9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246717" y="4131488"/>
            <a:ext cx="4752000" cy="324000"/>
          </a:xfr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6" name="Espace réservé du texte 9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6717" y="4455488"/>
            <a:ext cx="4752000" cy="1350000"/>
          </a:xfrm>
          <a:ln w="9525">
            <a:solidFill>
              <a:schemeClr val="accent3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7" name="Espace réservé du texte 9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88533" y="4131488"/>
            <a:ext cx="4752000" cy="324000"/>
          </a:xfrm>
          <a:solidFill>
            <a:schemeClr val="bg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8" name="Espace réservé du texte 9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88533" y="4455488"/>
            <a:ext cx="4752000" cy="13500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179891591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927D37-2A7F-4B1E-880F-5D029158D2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9431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927D37-2A7F-4B1E-880F-5D029158D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246717" y="1341438"/>
            <a:ext cx="1920000" cy="792000"/>
          </a:xfr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68000" y="1341438"/>
            <a:ext cx="7872533" cy="792000"/>
          </a:xfrm>
          <a:ln w="9525">
            <a:solidFill>
              <a:schemeClr val="accent1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16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246717" y="2349555"/>
            <a:ext cx="1920000" cy="792000"/>
          </a:xfr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17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168000" y="2349555"/>
            <a:ext cx="7872533" cy="792000"/>
          </a:xfrm>
          <a:ln w="9525">
            <a:solidFill>
              <a:schemeClr val="accent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18" name="Espace réservé du texte 9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246717" y="3357672"/>
            <a:ext cx="1920000" cy="792000"/>
          </a:xfr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168000" y="3357672"/>
            <a:ext cx="7872533" cy="792000"/>
          </a:xfrm>
          <a:ln w="9525">
            <a:solidFill>
              <a:schemeClr val="accent3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246717" y="4365788"/>
            <a:ext cx="1920000" cy="792000"/>
          </a:xfrm>
          <a:solidFill>
            <a:schemeClr val="bg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9" name="Espace réservé du texte 9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168000" y="4365788"/>
            <a:ext cx="7872533" cy="7920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39403704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5E8721C-CD81-4F66-A462-2FA309910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45107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5E8721C-CD81-4F66-A462-2FA309910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246717" y="1341438"/>
            <a:ext cx="4752000" cy="335714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6717" y="1665438"/>
            <a:ext cx="4752000" cy="414005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88533" y="1341438"/>
            <a:ext cx="4752000" cy="335714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88533" y="1665438"/>
            <a:ext cx="4752000" cy="414005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68757319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hank_you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Image_03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24000" y="1"/>
            <a:ext cx="6768000" cy="5185751"/>
          </a:xfrm>
          <a:prstGeom prst="rect">
            <a:avLst/>
          </a:prstGeom>
        </p:spPr>
      </p:pic>
      <p:sp>
        <p:nvSpPr>
          <p:cNvPr id="14" name="Forme libre 13"/>
          <p:cNvSpPr/>
          <p:nvPr userDrawn="1"/>
        </p:nvSpPr>
        <p:spPr bwMode="gray">
          <a:xfrm>
            <a:off x="2" y="0"/>
            <a:ext cx="9199033" cy="5157788"/>
          </a:xfrm>
          <a:custGeom>
            <a:avLst/>
            <a:gdLst>
              <a:gd name="connsiteX0" fmla="*/ 0 w 6899275"/>
              <a:gd name="connsiteY0" fmla="*/ 0 h 5157788"/>
              <a:gd name="connsiteX1" fmla="*/ 6899275 w 6899275"/>
              <a:gd name="connsiteY1" fmla="*/ 0 h 5157788"/>
              <a:gd name="connsiteX2" fmla="*/ 5436096 w 6899275"/>
              <a:gd name="connsiteY2" fmla="*/ 2564905 h 5157788"/>
              <a:gd name="connsiteX3" fmla="*/ 4192589 w 6899275"/>
              <a:gd name="connsiteY3" fmla="*/ 5157788 h 5157788"/>
              <a:gd name="connsiteX4" fmla="*/ 0 w 6899275"/>
              <a:gd name="connsiteY4" fmla="*/ 5157788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99275" h="5157788">
                <a:moveTo>
                  <a:pt x="0" y="0"/>
                </a:moveTo>
                <a:lnTo>
                  <a:pt x="6899275" y="0"/>
                </a:lnTo>
                <a:cubicBezTo>
                  <a:pt x="6858543" y="709899"/>
                  <a:pt x="6060035" y="1706304"/>
                  <a:pt x="5436096" y="2564905"/>
                </a:cubicBezTo>
                <a:cubicBezTo>
                  <a:pt x="4375629" y="4028322"/>
                  <a:pt x="4276999" y="4546571"/>
                  <a:pt x="4192589" y="5157788"/>
                </a:cubicBezTo>
                <a:lnTo>
                  <a:pt x="0" y="5157788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4847168" y="5265204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  <p:pic>
        <p:nvPicPr>
          <p:cNvPr id="20" name="Image 19" descr="Bas_couv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5172520"/>
            <a:ext cx="4847167" cy="1685480"/>
          </a:xfrm>
          <a:prstGeom prst="rect">
            <a:avLst/>
          </a:prstGeom>
        </p:spPr>
      </p:pic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000" y="1036800"/>
            <a:ext cx="6432549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r>
              <a:rPr lang="en-GB"/>
              <a:t>THANK YOU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24417" y="524188"/>
            <a:ext cx="6432551" cy="360000"/>
          </a:xfrm>
        </p:spPr>
        <p:txBody>
          <a:bodyPr/>
          <a:lstStyle>
            <a:lvl1pPr algn="l"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847168" y="6021388"/>
            <a:ext cx="6817784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847167" y="6354203"/>
            <a:ext cx="6817784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0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24417" y="3391895"/>
            <a:ext cx="326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055006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hank_you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FD_1_L254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" y="0"/>
            <a:ext cx="12192000" cy="5157788"/>
          </a:xfrm>
          <a:prstGeom prst="rect">
            <a:avLst/>
          </a:prstGeom>
        </p:spPr>
      </p:pic>
      <p:sp>
        <p:nvSpPr>
          <p:cNvPr id="18" name="Espace réservé pour une image  17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590117" y="0"/>
            <a:ext cx="6601883" cy="5162400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1412" h="5157788">
                <a:moveTo>
                  <a:pt x="2706687" y="0"/>
                </a:moveTo>
                <a:lnTo>
                  <a:pt x="4951412" y="0"/>
                </a:lnTo>
                <a:lnTo>
                  <a:pt x="4951412" y="5157788"/>
                </a:lnTo>
                <a:lnTo>
                  <a:pt x="0" y="5153180"/>
                </a:lnTo>
                <a:cubicBezTo>
                  <a:pt x="84411" y="4542509"/>
                  <a:pt x="183041" y="4024723"/>
                  <a:pt x="1243508" y="2562613"/>
                </a:cubicBezTo>
                <a:cubicBezTo>
                  <a:pt x="1867447" y="1704780"/>
                  <a:pt x="2665955" y="709265"/>
                  <a:pt x="2706687" y="0"/>
                </a:cubicBezTo>
                <a:close/>
              </a:path>
            </a:pathLst>
          </a:custGeom>
          <a:solidFill>
            <a:schemeClr val="bg2"/>
          </a:solidFill>
          <a:ln w="3175">
            <a:noFill/>
          </a:ln>
        </p:spPr>
        <p:txBody>
          <a:bodyPr tIns="720000" anchor="ctr" anchorCtr="0"/>
          <a:lstStyle>
            <a:lvl1pPr algn="ctr"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4847168" y="5265204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  <p:pic>
        <p:nvPicPr>
          <p:cNvPr id="20" name="Image 19" descr="Bas_couv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5172520"/>
            <a:ext cx="4847167" cy="1685480"/>
          </a:xfrm>
          <a:prstGeom prst="rect">
            <a:avLst/>
          </a:prstGeom>
        </p:spPr>
      </p:pic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000" y="1036800"/>
            <a:ext cx="6432549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r>
              <a:rPr lang="en-GB"/>
              <a:t>THANK YOU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24417" y="524188"/>
            <a:ext cx="6432551" cy="360000"/>
          </a:xfrm>
        </p:spPr>
        <p:txBody>
          <a:bodyPr/>
          <a:lstStyle>
            <a:lvl1pPr algn="l"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847168" y="6021388"/>
            <a:ext cx="6817784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847167" y="6354203"/>
            <a:ext cx="6817784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0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24417" y="3391895"/>
            <a:ext cx="326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856552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/>
          <p:nvPr userDrawn="1"/>
        </p:nvSpPr>
        <p:spPr>
          <a:xfrm>
            <a:off x="1231560" y="1310115"/>
            <a:ext cx="4358557" cy="22443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GB" sz="2000" b="1" noProof="0">
                <a:solidFill>
                  <a:schemeClr val="accent1"/>
                </a:solidFill>
              </a:rPr>
              <a:t>Primary</a:t>
            </a:r>
          </a:p>
          <a:p>
            <a:pPr marL="357188" lvl="1" indent="-174625">
              <a:lnSpc>
                <a:spcPct val="11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800" b="1" noProof="0"/>
              <a:t>Corporate Colours</a:t>
            </a:r>
          </a:p>
          <a:p>
            <a:pPr lvl="2">
              <a:lnSpc>
                <a:spcPct val="110000"/>
              </a:lnSpc>
            </a:pPr>
            <a:endParaRPr lang="en-GB" sz="1800" b="1" noProof="0"/>
          </a:p>
          <a:p>
            <a:pPr lvl="2">
              <a:lnSpc>
                <a:spcPct val="110000"/>
              </a:lnSpc>
            </a:pPr>
            <a:endParaRPr lang="en-GB" sz="1800" b="1" noProof="0"/>
          </a:p>
          <a:p>
            <a:pPr marL="357188" lvl="1" indent="-174625">
              <a:lnSpc>
                <a:spcPct val="11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800" b="1" noProof="0"/>
              <a:t>Strategic Goal Colours</a:t>
            </a:r>
          </a:p>
          <a:p>
            <a:pPr lvl="2">
              <a:lnSpc>
                <a:spcPct val="110000"/>
              </a:lnSpc>
            </a:pPr>
            <a:endParaRPr lang="en-GB" sz="1800" noProof="0"/>
          </a:p>
          <a:p>
            <a:pPr>
              <a:lnSpc>
                <a:spcPct val="110000"/>
              </a:lnSpc>
            </a:pPr>
            <a:r>
              <a:rPr lang="en-GB" sz="2000" b="1" noProof="0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13" name="Espace réservé de la date 1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64" name="Freeform 8"/>
          <p:cNvSpPr>
            <a:spLocks/>
          </p:cNvSpPr>
          <p:nvPr userDrawn="1"/>
        </p:nvSpPr>
        <p:spPr bwMode="auto">
          <a:xfrm>
            <a:off x="5894401" y="1341438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65" name="Rectangle 64"/>
          <p:cNvSpPr/>
          <p:nvPr userDrawn="1"/>
        </p:nvSpPr>
        <p:spPr>
          <a:xfrm>
            <a:off x="6518400" y="1341438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noProof="0">
                <a:solidFill>
                  <a:schemeClr val="tx1"/>
                </a:solidFill>
              </a:rPr>
              <a:t>R: 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92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85</a:t>
            </a:r>
          </a:p>
        </p:txBody>
      </p:sp>
      <p:sp>
        <p:nvSpPr>
          <p:cNvPr id="66" name="Freeform 8"/>
          <p:cNvSpPr>
            <a:spLocks/>
          </p:cNvSpPr>
          <p:nvPr userDrawn="1"/>
        </p:nvSpPr>
        <p:spPr bwMode="auto">
          <a:xfrm>
            <a:off x="7442242" y="1341438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67" name="Rectangle 66"/>
          <p:cNvSpPr/>
          <p:nvPr userDrawn="1"/>
        </p:nvSpPr>
        <p:spPr>
          <a:xfrm>
            <a:off x="8066956" y="1341438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noProof="0">
                <a:solidFill>
                  <a:schemeClr val="tx1"/>
                </a:solidFill>
              </a:rPr>
              <a:t>R: 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61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223</a:t>
            </a:r>
          </a:p>
        </p:txBody>
      </p:sp>
      <p:sp>
        <p:nvSpPr>
          <p:cNvPr id="68" name="Freeform 8"/>
          <p:cNvSpPr>
            <a:spLocks/>
          </p:cNvSpPr>
          <p:nvPr userDrawn="1"/>
        </p:nvSpPr>
        <p:spPr bwMode="auto">
          <a:xfrm>
            <a:off x="8990083" y="1341438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69" name="Rectangle 68"/>
          <p:cNvSpPr/>
          <p:nvPr userDrawn="1"/>
        </p:nvSpPr>
        <p:spPr>
          <a:xfrm>
            <a:off x="9615512" y="1341438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noProof="0">
                <a:solidFill>
                  <a:schemeClr val="tx1"/>
                </a:solidFill>
              </a:rPr>
              <a:t>R: 149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214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70" name="Freeform 8"/>
          <p:cNvSpPr>
            <a:spLocks/>
          </p:cNvSpPr>
          <p:nvPr userDrawn="1"/>
        </p:nvSpPr>
        <p:spPr bwMode="auto">
          <a:xfrm>
            <a:off x="10537926" y="1341438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71" name="Rectangle 70"/>
          <p:cNvSpPr/>
          <p:nvPr userDrawn="1"/>
        </p:nvSpPr>
        <p:spPr>
          <a:xfrm>
            <a:off x="11164069" y="1341438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noProof="0">
                <a:solidFill>
                  <a:schemeClr val="tx1"/>
                </a:solidFill>
              </a:rPr>
              <a:t>R: 135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35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35</a:t>
            </a:r>
          </a:p>
        </p:txBody>
      </p:sp>
      <p:sp>
        <p:nvSpPr>
          <p:cNvPr id="72" name="Freeform 8"/>
          <p:cNvSpPr>
            <a:spLocks/>
          </p:cNvSpPr>
          <p:nvPr userDrawn="1"/>
        </p:nvSpPr>
        <p:spPr bwMode="auto">
          <a:xfrm>
            <a:off x="5894401" y="2278063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73" name="Rectangle 72"/>
          <p:cNvSpPr/>
          <p:nvPr userDrawn="1"/>
        </p:nvSpPr>
        <p:spPr>
          <a:xfrm>
            <a:off x="6518400" y="2278063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ACCELERATE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VACCINES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165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24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44</a:t>
            </a:r>
          </a:p>
        </p:txBody>
      </p:sp>
      <p:sp>
        <p:nvSpPr>
          <p:cNvPr id="74" name="Freeform 8"/>
          <p:cNvSpPr>
            <a:spLocks/>
          </p:cNvSpPr>
          <p:nvPr userDrawn="1"/>
        </p:nvSpPr>
        <p:spPr bwMode="auto">
          <a:xfrm>
            <a:off x="7442242" y="2278063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75" name="Rectangle 74"/>
          <p:cNvSpPr/>
          <p:nvPr userDrawn="1"/>
        </p:nvSpPr>
        <p:spPr>
          <a:xfrm>
            <a:off x="8066956" y="2278063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STRENGTHEN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CAPACITY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206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5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05</a:t>
            </a:r>
          </a:p>
        </p:txBody>
      </p:sp>
      <p:sp>
        <p:nvSpPr>
          <p:cNvPr id="76" name="Freeform 8"/>
          <p:cNvSpPr>
            <a:spLocks/>
          </p:cNvSpPr>
          <p:nvPr userDrawn="1"/>
        </p:nvSpPr>
        <p:spPr bwMode="auto">
          <a:xfrm>
            <a:off x="8990083" y="2278063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77" name="Rectangle 76"/>
          <p:cNvSpPr/>
          <p:nvPr userDrawn="1"/>
        </p:nvSpPr>
        <p:spPr>
          <a:xfrm>
            <a:off x="9615512" y="2278063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INCREASE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PREDICTABILITY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149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214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78" name="Freeform 8"/>
          <p:cNvSpPr>
            <a:spLocks/>
          </p:cNvSpPr>
          <p:nvPr userDrawn="1"/>
        </p:nvSpPr>
        <p:spPr bwMode="auto">
          <a:xfrm>
            <a:off x="10537926" y="2278063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79" name="Rectangle 78"/>
          <p:cNvSpPr/>
          <p:nvPr userDrawn="1"/>
        </p:nvSpPr>
        <p:spPr>
          <a:xfrm>
            <a:off x="11164069" y="2278063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SHAPE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THE MARKET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61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223</a:t>
            </a:r>
          </a:p>
        </p:txBody>
      </p:sp>
      <p:sp>
        <p:nvSpPr>
          <p:cNvPr id="80" name="Freeform 8"/>
          <p:cNvSpPr>
            <a:spLocks/>
          </p:cNvSpPr>
          <p:nvPr userDrawn="1"/>
        </p:nvSpPr>
        <p:spPr bwMode="auto">
          <a:xfrm>
            <a:off x="5892322" y="356365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ED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81" name="Rectangle 80"/>
          <p:cNvSpPr/>
          <p:nvPr userDrawn="1"/>
        </p:nvSpPr>
        <p:spPr>
          <a:xfrm>
            <a:off x="6518465" y="356365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IPV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INJECTABLE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POLIO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206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22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82" name="Freeform 8"/>
          <p:cNvSpPr>
            <a:spLocks/>
          </p:cNvSpPr>
          <p:nvPr userDrawn="1"/>
        </p:nvSpPr>
        <p:spPr bwMode="auto">
          <a:xfrm>
            <a:off x="7440857" y="356365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B288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83" name="Rectangle 82"/>
          <p:cNvSpPr/>
          <p:nvPr userDrawn="1"/>
        </p:nvSpPr>
        <p:spPr>
          <a:xfrm>
            <a:off x="8067000" y="356365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JAPANESE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ENCEPHALITIS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178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36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85</a:t>
            </a:r>
          </a:p>
        </p:txBody>
      </p:sp>
      <p:sp>
        <p:nvSpPr>
          <p:cNvPr id="84" name="Freeform 8"/>
          <p:cNvSpPr>
            <a:spLocks/>
          </p:cNvSpPr>
          <p:nvPr userDrawn="1"/>
        </p:nvSpPr>
        <p:spPr bwMode="auto">
          <a:xfrm>
            <a:off x="8989391" y="356365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41B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85" name="Rectangle 84"/>
          <p:cNvSpPr/>
          <p:nvPr userDrawn="1"/>
        </p:nvSpPr>
        <p:spPr>
          <a:xfrm>
            <a:off x="9615535" y="356365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MEASLES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65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82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230</a:t>
            </a:r>
          </a:p>
        </p:txBody>
      </p:sp>
      <p:sp>
        <p:nvSpPr>
          <p:cNvPr id="86" name="Freeform 8"/>
          <p:cNvSpPr>
            <a:spLocks/>
          </p:cNvSpPr>
          <p:nvPr userDrawn="1"/>
        </p:nvSpPr>
        <p:spPr bwMode="auto">
          <a:xfrm>
            <a:off x="10537926" y="356365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7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87" name="Rectangle 86"/>
          <p:cNvSpPr/>
          <p:nvPr userDrawn="1"/>
        </p:nvSpPr>
        <p:spPr>
          <a:xfrm>
            <a:off x="11164069" y="356365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MEASLES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2</a:t>
            </a:r>
            <a:r>
              <a:rPr lang="en-GB" sz="700" b="1" baseline="30000" noProof="0">
                <a:solidFill>
                  <a:schemeClr val="tx1"/>
                </a:solidFill>
              </a:rPr>
              <a:t>ND</a:t>
            </a:r>
            <a:r>
              <a:rPr lang="en-GB" sz="700" b="1" noProof="0">
                <a:solidFill>
                  <a:schemeClr val="tx1"/>
                </a:solidFill>
              </a:rPr>
              <a:t> DOSE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51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69</a:t>
            </a:r>
          </a:p>
        </p:txBody>
      </p:sp>
      <p:sp>
        <p:nvSpPr>
          <p:cNvPr id="88" name="Freeform 8"/>
          <p:cNvSpPr>
            <a:spLocks/>
          </p:cNvSpPr>
          <p:nvPr userDrawn="1"/>
        </p:nvSpPr>
        <p:spPr bwMode="auto">
          <a:xfrm>
            <a:off x="5892926" y="443100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33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89" name="Rectangle 88"/>
          <p:cNvSpPr/>
          <p:nvPr userDrawn="1"/>
        </p:nvSpPr>
        <p:spPr>
          <a:xfrm>
            <a:off x="6517785" y="443100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PNEUMO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51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60</a:t>
            </a:r>
          </a:p>
        </p:txBody>
      </p:sp>
      <p:sp>
        <p:nvSpPr>
          <p:cNvPr id="90" name="Freeform 8"/>
          <p:cNvSpPr>
            <a:spLocks/>
          </p:cNvSpPr>
          <p:nvPr userDrawn="1"/>
        </p:nvSpPr>
        <p:spPr bwMode="auto">
          <a:xfrm>
            <a:off x="7441662" y="443100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860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91" name="Rectangle 90"/>
          <p:cNvSpPr/>
          <p:nvPr userDrawn="1"/>
        </p:nvSpPr>
        <p:spPr>
          <a:xfrm>
            <a:off x="8066093" y="443100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ROTAVIRUS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216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96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24</a:t>
            </a:r>
          </a:p>
        </p:txBody>
      </p:sp>
      <p:sp>
        <p:nvSpPr>
          <p:cNvPr id="92" name="Freeform 8"/>
          <p:cNvSpPr>
            <a:spLocks/>
          </p:cNvSpPr>
          <p:nvPr userDrawn="1"/>
        </p:nvSpPr>
        <p:spPr bwMode="auto">
          <a:xfrm>
            <a:off x="8990401" y="443100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EAA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93" name="Rectangle 92"/>
          <p:cNvSpPr/>
          <p:nvPr userDrawn="1"/>
        </p:nvSpPr>
        <p:spPr>
          <a:xfrm>
            <a:off x="9614400" y="443100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YELLOW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FEVER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234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7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94" name="Freeform 8"/>
          <p:cNvSpPr>
            <a:spLocks/>
          </p:cNvSpPr>
          <p:nvPr userDrawn="1"/>
        </p:nvSpPr>
        <p:spPr bwMode="auto">
          <a:xfrm>
            <a:off x="1246718" y="356365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F5C3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95" name="Rectangle 94"/>
          <p:cNvSpPr/>
          <p:nvPr userDrawn="1"/>
        </p:nvSpPr>
        <p:spPr>
          <a:xfrm>
            <a:off x="1872861" y="356365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CHOLERA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175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92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55</a:t>
            </a:r>
          </a:p>
        </p:txBody>
      </p:sp>
      <p:sp>
        <p:nvSpPr>
          <p:cNvPr id="96" name="Freeform 8"/>
          <p:cNvSpPr>
            <a:spLocks/>
          </p:cNvSpPr>
          <p:nvPr userDrawn="1"/>
        </p:nvSpPr>
        <p:spPr bwMode="auto">
          <a:xfrm>
            <a:off x="2795253" y="356365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500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97" name="Rectangle 96"/>
          <p:cNvSpPr/>
          <p:nvPr userDrawn="1"/>
        </p:nvSpPr>
        <p:spPr>
          <a:xfrm>
            <a:off x="3421396" y="356365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HEPB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213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50</a:t>
            </a:r>
          </a:p>
        </p:txBody>
      </p:sp>
      <p:sp>
        <p:nvSpPr>
          <p:cNvPr id="98" name="Freeform 8"/>
          <p:cNvSpPr>
            <a:spLocks/>
          </p:cNvSpPr>
          <p:nvPr userDrawn="1"/>
        </p:nvSpPr>
        <p:spPr bwMode="auto">
          <a:xfrm>
            <a:off x="4343787" y="356365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F59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99" name="Rectangle 98"/>
          <p:cNvSpPr/>
          <p:nvPr userDrawn="1"/>
        </p:nvSpPr>
        <p:spPr>
          <a:xfrm>
            <a:off x="4969931" y="356365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HPV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245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55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87</a:t>
            </a:r>
          </a:p>
        </p:txBody>
      </p:sp>
      <p:sp>
        <p:nvSpPr>
          <p:cNvPr id="100" name="Freeform 8"/>
          <p:cNvSpPr>
            <a:spLocks/>
          </p:cNvSpPr>
          <p:nvPr userDrawn="1"/>
        </p:nvSpPr>
        <p:spPr bwMode="auto">
          <a:xfrm>
            <a:off x="1246718" y="443100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5A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101" name="Rectangle 100"/>
          <p:cNvSpPr/>
          <p:nvPr userDrawn="1"/>
        </p:nvSpPr>
        <p:spPr>
          <a:xfrm>
            <a:off x="1872861" y="443100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MEASLES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RUBELLA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9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12</a:t>
            </a:r>
          </a:p>
        </p:txBody>
      </p:sp>
      <p:sp>
        <p:nvSpPr>
          <p:cNvPr id="102" name="Freeform 8"/>
          <p:cNvSpPr>
            <a:spLocks/>
          </p:cNvSpPr>
          <p:nvPr userDrawn="1"/>
        </p:nvSpPr>
        <p:spPr bwMode="auto">
          <a:xfrm>
            <a:off x="2795454" y="443100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63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103" name="Rectangle 102"/>
          <p:cNvSpPr/>
          <p:nvPr userDrawn="1"/>
        </p:nvSpPr>
        <p:spPr>
          <a:xfrm>
            <a:off x="3421169" y="443100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MENINGITIS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A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5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57</a:t>
            </a:r>
          </a:p>
        </p:txBody>
      </p:sp>
      <p:sp>
        <p:nvSpPr>
          <p:cNvPr id="104" name="Freeform 8"/>
          <p:cNvSpPr>
            <a:spLocks/>
          </p:cNvSpPr>
          <p:nvPr userDrawn="1"/>
        </p:nvSpPr>
        <p:spPr bwMode="auto">
          <a:xfrm>
            <a:off x="4344190" y="443100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532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105" name="Rectangle 104"/>
          <p:cNvSpPr/>
          <p:nvPr userDrawn="1"/>
        </p:nvSpPr>
        <p:spPr>
          <a:xfrm>
            <a:off x="4969477" y="443100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PENTA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DTP–HEP-HIB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101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5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21</a:t>
            </a:r>
          </a:p>
        </p:txBody>
      </p:sp>
      <p:sp>
        <p:nvSpPr>
          <p:cNvPr id="106" name="Rectangle 105"/>
          <p:cNvSpPr/>
          <p:nvPr userDrawn="1"/>
        </p:nvSpPr>
        <p:spPr>
          <a:xfrm>
            <a:off x="7440150" y="5279243"/>
            <a:ext cx="4224801" cy="75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GB" sz="1200" b="1" noProof="0">
                <a:solidFill>
                  <a:schemeClr val="tx1"/>
                </a:solidFill>
              </a:rPr>
              <a:t>Please use the four Gavi corporate colours where possible.  Specific strategic goals </a:t>
            </a:r>
            <a:br>
              <a:rPr lang="en-GB" sz="1200" b="1" noProof="0">
                <a:solidFill>
                  <a:schemeClr val="tx1"/>
                </a:solidFill>
              </a:rPr>
            </a:br>
            <a:r>
              <a:rPr lang="en-GB" sz="1200" b="1" noProof="0">
                <a:solidFill>
                  <a:schemeClr val="tx1"/>
                </a:solidFill>
              </a:rPr>
              <a:t>or vaccines should be highlighted using the key above. </a:t>
            </a:r>
          </a:p>
        </p:txBody>
      </p:sp>
      <p:sp>
        <p:nvSpPr>
          <p:cNvPr id="107" name="Freeform 8"/>
          <p:cNvSpPr>
            <a:spLocks/>
          </p:cNvSpPr>
          <p:nvPr userDrawn="1"/>
        </p:nvSpPr>
        <p:spPr bwMode="auto">
          <a:xfrm>
            <a:off x="5894401" y="5308462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463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108" name="Rectangle 107"/>
          <p:cNvSpPr/>
          <p:nvPr userDrawn="1"/>
        </p:nvSpPr>
        <p:spPr>
          <a:xfrm>
            <a:off x="6518400" y="5308462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RABIES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100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99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99</a:t>
            </a:r>
          </a:p>
        </p:txBody>
      </p:sp>
      <p:sp>
        <p:nvSpPr>
          <p:cNvPr id="109" name="Freeform 8"/>
          <p:cNvSpPr>
            <a:spLocks/>
          </p:cNvSpPr>
          <p:nvPr userDrawn="1"/>
        </p:nvSpPr>
        <p:spPr bwMode="auto">
          <a:xfrm>
            <a:off x="1246718" y="5308462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6C6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110" name="Rectangle 109"/>
          <p:cNvSpPr/>
          <p:nvPr userDrawn="1"/>
        </p:nvSpPr>
        <p:spPr>
          <a:xfrm>
            <a:off x="1872861" y="5308462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DENGUE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198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98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98</a:t>
            </a:r>
          </a:p>
        </p:txBody>
      </p:sp>
      <p:sp>
        <p:nvSpPr>
          <p:cNvPr id="111" name="Freeform 8"/>
          <p:cNvSpPr>
            <a:spLocks/>
          </p:cNvSpPr>
          <p:nvPr userDrawn="1"/>
        </p:nvSpPr>
        <p:spPr bwMode="auto">
          <a:xfrm>
            <a:off x="2795946" y="5308462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8A8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112" name="Rectangle 111"/>
          <p:cNvSpPr/>
          <p:nvPr userDrawn="1"/>
        </p:nvSpPr>
        <p:spPr>
          <a:xfrm>
            <a:off x="3421375" y="5308462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MALARIA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168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68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67</a:t>
            </a:r>
          </a:p>
        </p:txBody>
      </p:sp>
      <p:sp>
        <p:nvSpPr>
          <p:cNvPr id="113" name="Freeform 8"/>
          <p:cNvSpPr>
            <a:spLocks/>
          </p:cNvSpPr>
          <p:nvPr userDrawn="1"/>
        </p:nvSpPr>
        <p:spPr bwMode="auto">
          <a:xfrm>
            <a:off x="4345174" y="5308462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8787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114" name="Rectangle 113"/>
          <p:cNvSpPr/>
          <p:nvPr userDrawn="1"/>
        </p:nvSpPr>
        <p:spPr>
          <a:xfrm>
            <a:off x="4969888" y="5308462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MATERNAL</a:t>
            </a:r>
          </a:p>
          <a:p>
            <a:r>
              <a:rPr lang="en-GB" sz="700" b="1" noProof="0">
                <a:solidFill>
                  <a:schemeClr val="tx1"/>
                </a:solidFill>
              </a:rPr>
              <a:t>FLU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135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35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135</a:t>
            </a:r>
          </a:p>
        </p:txBody>
      </p:sp>
      <p:sp>
        <p:nvSpPr>
          <p:cNvPr id="115" name="Freeform 8"/>
          <p:cNvSpPr>
            <a:spLocks/>
          </p:cNvSpPr>
          <p:nvPr userDrawn="1"/>
        </p:nvSpPr>
        <p:spPr bwMode="auto">
          <a:xfrm>
            <a:off x="10537926" y="4431007"/>
            <a:ext cx="591207" cy="65750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7D706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800" noProof="0"/>
          </a:p>
        </p:txBody>
      </p:sp>
      <p:sp>
        <p:nvSpPr>
          <p:cNvPr id="116" name="Rectangle 115"/>
          <p:cNvSpPr/>
          <p:nvPr userDrawn="1"/>
        </p:nvSpPr>
        <p:spPr>
          <a:xfrm>
            <a:off x="11164069" y="4431007"/>
            <a:ext cx="1008000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GB" sz="700" b="1" noProof="0">
                <a:solidFill>
                  <a:schemeClr val="tx1"/>
                </a:solidFill>
              </a:rPr>
              <a:t>TYPHOÏD</a:t>
            </a:r>
          </a:p>
          <a:p>
            <a:r>
              <a:rPr lang="en-GB" sz="700" noProof="0">
                <a:solidFill>
                  <a:schemeClr val="tx1"/>
                </a:solidFill>
              </a:rPr>
              <a:t>R: 125</a:t>
            </a:r>
          </a:p>
          <a:p>
            <a:r>
              <a:rPr lang="en-GB" sz="700" noProof="0">
                <a:solidFill>
                  <a:schemeClr val="tx1"/>
                </a:solidFill>
              </a:rPr>
              <a:t>G: 112</a:t>
            </a:r>
          </a:p>
          <a:p>
            <a:r>
              <a:rPr lang="en-GB" sz="700" noProof="0">
                <a:solidFill>
                  <a:schemeClr val="tx1"/>
                </a:solidFill>
              </a:rPr>
              <a:t>B: 97</a:t>
            </a:r>
          </a:p>
        </p:txBody>
      </p:sp>
      <p:sp>
        <p:nvSpPr>
          <p:cNvPr id="4" name="ZoneTexte 3"/>
          <p:cNvSpPr txBox="1"/>
          <p:nvPr userDrawn="1"/>
        </p:nvSpPr>
        <p:spPr>
          <a:xfrm>
            <a:off x="1120714" y="0"/>
            <a:ext cx="10544237" cy="1080094"/>
          </a:xfrm>
          <a:prstGeom prst="rect">
            <a:avLst/>
          </a:prstGeom>
          <a:noFill/>
        </p:spPr>
        <p:txBody>
          <a:bodyPr wrap="square" rtlCol="0" anchor="b" anchorCtr="0">
            <a:noAutofit/>
          </a:bodyPr>
          <a:lstStyle/>
          <a:p>
            <a:r>
              <a:rPr lang="en-GB" sz="2800" noProof="0">
                <a:solidFill>
                  <a:schemeClr val="accent1"/>
                </a:solidFill>
              </a:rPr>
              <a:t>BRAND COLOUR PALETTE</a:t>
            </a:r>
          </a:p>
        </p:txBody>
      </p:sp>
    </p:spTree>
    <p:extLst>
      <p:ext uri="{BB962C8B-B14F-4D97-AF65-F5344CB8AC3E}">
        <p14:creationId xmlns:p14="http://schemas.microsoft.com/office/powerpoint/2010/main" val="299311104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8000" y="1304930"/>
            <a:ext cx="10532533" cy="471646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3" name="Espace réservé de la date 12"/>
          <p:cNvSpPr>
            <a:spLocks noGrp="1"/>
          </p:cNvSpPr>
          <p:nvPr>
            <p:ph type="dt" sz="half" idx="10"/>
          </p:nvPr>
        </p:nvSpPr>
        <p:spPr bwMode="gray">
          <a:xfrm>
            <a:off x="-738718" y="6498000"/>
            <a:ext cx="1246719" cy="360000"/>
          </a:xfrm>
          <a:prstGeom prst="rect">
            <a:avLst/>
          </a:prstGeom>
        </p:spPr>
        <p:txBody>
          <a:bodyPr/>
          <a:lstStyle/>
          <a:p>
            <a:r>
              <a:rPr lang="fr-CH" noProof="0"/>
              <a:t>Date</a:t>
            </a:r>
            <a:endParaRPr lang="en-GB" noProof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6759528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09CDB214-91CC-5B4C-8CD3-704527D4411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037491" y="2081464"/>
            <a:ext cx="4162104" cy="26070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0817A464-9E5E-6C45-9C40-5486069F0C2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48357" y="2994624"/>
            <a:ext cx="4162104" cy="26070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6988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3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>
              <a:latin typeface="Arial" panose="020B0604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36D7151-EE44-6D41-A861-17BC5B8F0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115819 w 6096001"/>
              <a:gd name="connsiteY0" fmla="*/ 1901215 h 6858000"/>
              <a:gd name="connsiteX1" fmla="*/ 2096475 w 6096001"/>
              <a:gd name="connsiteY1" fmla="*/ 2469051 h 6858000"/>
              <a:gd name="connsiteX2" fmla="*/ 2517092 w 6096001"/>
              <a:gd name="connsiteY2" fmla="*/ 2737003 h 6858000"/>
              <a:gd name="connsiteX3" fmla="*/ 3061016 w 6096001"/>
              <a:gd name="connsiteY3" fmla="*/ 2401022 h 6858000"/>
              <a:gd name="connsiteX4" fmla="*/ 3455600 w 6096001"/>
              <a:gd name="connsiteY4" fmla="*/ 2732838 h 6858000"/>
              <a:gd name="connsiteX5" fmla="*/ 2725345 w 6096001"/>
              <a:gd name="connsiteY5" fmla="*/ 3202101 h 6858000"/>
              <a:gd name="connsiteX6" fmla="*/ 2725345 w 6096001"/>
              <a:gd name="connsiteY6" fmla="*/ 3663034 h 6858000"/>
              <a:gd name="connsiteX7" fmla="*/ 3570688 w 6096001"/>
              <a:gd name="connsiteY7" fmla="*/ 4110083 h 6858000"/>
              <a:gd name="connsiteX8" fmla="*/ 3044575 w 6096001"/>
              <a:gd name="connsiteY8" fmla="*/ 4544637 h 6858000"/>
              <a:gd name="connsiteX9" fmla="*/ 2300618 w 6096001"/>
              <a:gd name="connsiteY9" fmla="*/ 4273909 h 6858000"/>
              <a:gd name="connsiteX10" fmla="*/ 1977278 w 6096001"/>
              <a:gd name="connsiteY10" fmla="*/ 4712628 h 6858000"/>
              <a:gd name="connsiteX11" fmla="*/ 1978648 w 6096001"/>
              <a:gd name="connsiteY11" fmla="*/ 4711240 h 6858000"/>
              <a:gd name="connsiteX12" fmla="*/ 3048685 w 6096001"/>
              <a:gd name="connsiteY12" fmla="*/ 5043056 h 6858000"/>
              <a:gd name="connsiteX13" fmla="*/ 4118722 w 6096001"/>
              <a:gd name="connsiteY13" fmla="*/ 4126744 h 6858000"/>
              <a:gd name="connsiteX14" fmla="*/ 3455600 w 6096001"/>
              <a:gd name="connsiteY14" fmla="*/ 3360373 h 6858000"/>
              <a:gd name="connsiteX15" fmla="*/ 3999524 w 6096001"/>
              <a:gd name="connsiteY15" fmla="*/ 2628712 h 6858000"/>
              <a:gd name="connsiteX16" fmla="*/ 3115819 w 6096001"/>
              <a:gd name="connsiteY16" fmla="*/ 1901215 h 6858000"/>
              <a:gd name="connsiteX17" fmla="*/ 0 w 6096001"/>
              <a:gd name="connsiteY17" fmla="*/ 0 h 6858000"/>
              <a:gd name="connsiteX18" fmla="*/ 5214397 w 6096001"/>
              <a:gd name="connsiteY18" fmla="*/ 0 h 6858000"/>
              <a:gd name="connsiteX19" fmla="*/ 6096001 w 6096001"/>
              <a:gd name="connsiteY19" fmla="*/ 881604 h 6858000"/>
              <a:gd name="connsiteX20" fmla="*/ 6096001 w 6096001"/>
              <a:gd name="connsiteY20" fmla="*/ 6858000 h 6858000"/>
              <a:gd name="connsiteX21" fmla="*/ 0 w 6096001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1" h="6858000">
                <a:moveTo>
                  <a:pt x="3115819" y="1901215"/>
                </a:moveTo>
                <a:cubicBezTo>
                  <a:pt x="2614368" y="1901215"/>
                  <a:pt x="2278697" y="2128905"/>
                  <a:pt x="2096475" y="2469051"/>
                </a:cubicBezTo>
                <a:lnTo>
                  <a:pt x="2517092" y="2737003"/>
                </a:lnTo>
                <a:cubicBezTo>
                  <a:pt x="2602037" y="2581508"/>
                  <a:pt x="2780148" y="2401022"/>
                  <a:pt x="3061016" y="2401022"/>
                </a:cubicBezTo>
                <a:cubicBezTo>
                  <a:pt x="3302151" y="2401022"/>
                  <a:pt x="3455600" y="2534304"/>
                  <a:pt x="3455600" y="2732838"/>
                </a:cubicBezTo>
                <a:cubicBezTo>
                  <a:pt x="3455600" y="2964693"/>
                  <a:pt x="3285710" y="3197936"/>
                  <a:pt x="2725345" y="3202101"/>
                </a:cubicBezTo>
                <a:lnTo>
                  <a:pt x="2725345" y="3663034"/>
                </a:lnTo>
                <a:cubicBezTo>
                  <a:pt x="3303521" y="3663034"/>
                  <a:pt x="3570688" y="3825471"/>
                  <a:pt x="3570688" y="4110083"/>
                </a:cubicBezTo>
                <a:cubicBezTo>
                  <a:pt x="3570688" y="4372481"/>
                  <a:pt x="3384356" y="4544637"/>
                  <a:pt x="3044575" y="4544637"/>
                </a:cubicBezTo>
                <a:cubicBezTo>
                  <a:pt x="2737676" y="4544637"/>
                  <a:pt x="2504761" y="4433570"/>
                  <a:pt x="2300618" y="4273909"/>
                </a:cubicBezTo>
                <a:lnTo>
                  <a:pt x="1977278" y="4712628"/>
                </a:lnTo>
                <a:lnTo>
                  <a:pt x="1978648" y="4711240"/>
                </a:lnTo>
                <a:cubicBezTo>
                  <a:pt x="2271846" y="4926434"/>
                  <a:pt x="2581486" y="5043056"/>
                  <a:pt x="3048685" y="5043056"/>
                </a:cubicBezTo>
                <a:cubicBezTo>
                  <a:pt x="3698106" y="5043056"/>
                  <a:pt x="4118722" y="4659870"/>
                  <a:pt x="4118722" y="4126744"/>
                </a:cubicBezTo>
                <a:cubicBezTo>
                  <a:pt x="4118722" y="3708850"/>
                  <a:pt x="3863886" y="3468665"/>
                  <a:pt x="3455600" y="3360373"/>
                </a:cubicBezTo>
                <a:cubicBezTo>
                  <a:pt x="3791271" y="3239587"/>
                  <a:pt x="3999524" y="2999402"/>
                  <a:pt x="3999524" y="2628712"/>
                </a:cubicBezTo>
                <a:cubicBezTo>
                  <a:pt x="3999524" y="2206653"/>
                  <a:pt x="3617271" y="1901215"/>
                  <a:pt x="3115819" y="19012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25C2FE18-7101-835D-ADE0-E6D02E757D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E4418E5A-E58F-0B96-77BA-27495CF8E9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58131908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3AF8D21A-6CCE-CD43-8AE8-35782B027FA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99485" y="-1"/>
            <a:ext cx="3222601" cy="4572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58261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C0EE312-4016-7A42-A2BC-FA22EFDB22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29348" y="720996"/>
            <a:ext cx="4990276" cy="54160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37222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17108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4846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47638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73746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92736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92724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0329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71553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4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>
              <a:latin typeface="Arial" panose="020B0604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6FEC1B-CB13-FBEB-0D56-B30A0523DF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218999 w 6096001"/>
              <a:gd name="connsiteY0" fmla="*/ 2668987 h 6858000"/>
              <a:gd name="connsiteX1" fmla="*/ 3218999 w 6096001"/>
              <a:gd name="connsiteY1" fmla="*/ 3752595 h 6858000"/>
              <a:gd name="connsiteX2" fmla="*/ 2442001 w 6096001"/>
              <a:gd name="connsiteY2" fmla="*/ 3752595 h 6858000"/>
              <a:gd name="connsiteX3" fmla="*/ 3218999 w 6096001"/>
              <a:gd name="connsiteY3" fmla="*/ 1883188 h 6858000"/>
              <a:gd name="connsiteX4" fmla="*/ 1820976 w 6096001"/>
              <a:gd name="connsiteY4" fmla="*/ 3839578 h 6858000"/>
              <a:gd name="connsiteX5" fmla="*/ 1820976 w 6096001"/>
              <a:gd name="connsiteY5" fmla="*/ 4242061 h 6858000"/>
              <a:gd name="connsiteX6" fmla="*/ 3218999 w 6096001"/>
              <a:gd name="connsiteY6" fmla="*/ 4242061 h 6858000"/>
              <a:gd name="connsiteX7" fmla="*/ 3218999 w 6096001"/>
              <a:gd name="connsiteY7" fmla="*/ 5164970 h 6858000"/>
              <a:gd name="connsiteX8" fmla="*/ 3791372 w 6096001"/>
              <a:gd name="connsiteY8" fmla="*/ 5164970 h 6858000"/>
              <a:gd name="connsiteX9" fmla="*/ 3791372 w 6096001"/>
              <a:gd name="connsiteY9" fmla="*/ 4242061 h 6858000"/>
              <a:gd name="connsiteX10" fmla="*/ 4275028 w 6096001"/>
              <a:gd name="connsiteY10" fmla="*/ 4242061 h 6858000"/>
              <a:gd name="connsiteX11" fmla="*/ 4275028 w 6096001"/>
              <a:gd name="connsiteY11" fmla="*/ 3752595 h 6858000"/>
              <a:gd name="connsiteX12" fmla="*/ 3791372 w 6096001"/>
              <a:gd name="connsiteY12" fmla="*/ 3752595 h 6858000"/>
              <a:gd name="connsiteX13" fmla="*/ 3791372 w 6096001"/>
              <a:gd name="connsiteY13" fmla="*/ 1883188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218999" y="2668987"/>
                </a:moveTo>
                <a:lnTo>
                  <a:pt x="3218999" y="3752595"/>
                </a:lnTo>
                <a:lnTo>
                  <a:pt x="2442001" y="3752595"/>
                </a:lnTo>
                <a:close/>
                <a:moveTo>
                  <a:pt x="3218999" y="1883188"/>
                </a:moveTo>
                <a:lnTo>
                  <a:pt x="1820976" y="3839578"/>
                </a:lnTo>
                <a:lnTo>
                  <a:pt x="1820976" y="4242061"/>
                </a:lnTo>
                <a:lnTo>
                  <a:pt x="3218999" y="4242061"/>
                </a:lnTo>
                <a:lnTo>
                  <a:pt x="3218999" y="5164970"/>
                </a:lnTo>
                <a:lnTo>
                  <a:pt x="3791372" y="5164970"/>
                </a:lnTo>
                <a:lnTo>
                  <a:pt x="3791372" y="4242061"/>
                </a:lnTo>
                <a:lnTo>
                  <a:pt x="4275028" y="4242061"/>
                </a:lnTo>
                <a:lnTo>
                  <a:pt x="4275028" y="3752595"/>
                </a:lnTo>
                <a:lnTo>
                  <a:pt x="3791372" y="3752595"/>
                </a:lnTo>
                <a:lnTo>
                  <a:pt x="3791372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685E723E-9B95-DE16-D2D8-EB21AE8AD0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92B6EC2E-829A-8421-4DF9-E5CDC6DA5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9725464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261189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827105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1347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643547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9645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521970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703275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0710033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821484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43147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5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>
              <a:latin typeface="Arial" panose="020B0604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65DBAFD-23F0-1A0E-5FDF-8321772FC3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2264571 w 6096001"/>
              <a:gd name="connsiteY0" fmla="*/ 1883188 h 6858000"/>
              <a:gd name="connsiteX1" fmla="*/ 2167943 w 6096001"/>
              <a:gd name="connsiteY1" fmla="*/ 3625805 h 6858000"/>
              <a:gd name="connsiteX2" fmla="*/ 2578239 w 6096001"/>
              <a:gd name="connsiteY2" fmla="*/ 3754069 h 6858000"/>
              <a:gd name="connsiteX3" fmla="*/ 3056918 w 6096001"/>
              <a:gd name="connsiteY3" fmla="*/ 3625805 h 6858000"/>
              <a:gd name="connsiteX4" fmla="*/ 3638171 w 6096001"/>
              <a:gd name="connsiteY4" fmla="*/ 4124117 h 6858000"/>
              <a:gd name="connsiteX5" fmla="*/ 3047999 w 6096001"/>
              <a:gd name="connsiteY5" fmla="*/ 4644543 h 6858000"/>
              <a:gd name="connsiteX6" fmla="*/ 2222946 w 6096001"/>
              <a:gd name="connsiteY6" fmla="*/ 4342313 h 6858000"/>
              <a:gd name="connsiteX7" fmla="*/ 1933063 w 6096001"/>
              <a:gd name="connsiteY7" fmla="*/ 4822933 h 6858000"/>
              <a:gd name="connsiteX8" fmla="*/ 3058405 w 6096001"/>
              <a:gd name="connsiteY8" fmla="*/ 5175290 h 6858000"/>
              <a:gd name="connsiteX9" fmla="*/ 4229830 w 6096001"/>
              <a:gd name="connsiteY9" fmla="*/ 4110849 h 6858000"/>
              <a:gd name="connsiteX10" fmla="*/ 3178818 w 6096001"/>
              <a:gd name="connsiteY10" fmla="*/ 3114225 h 6858000"/>
              <a:gd name="connsiteX11" fmla="*/ 2689733 w 6096001"/>
              <a:gd name="connsiteY11" fmla="*/ 3214477 h 6858000"/>
              <a:gd name="connsiteX12" fmla="*/ 2744736 w 6096001"/>
              <a:gd name="connsiteY12" fmla="*/ 2409511 h 6858000"/>
              <a:gd name="connsiteX13" fmla="*/ 4026169 w 6096001"/>
              <a:gd name="connsiteY13" fmla="*/ 2409511 h 6858000"/>
              <a:gd name="connsiteX14" fmla="*/ 4026169 w 6096001"/>
              <a:gd name="connsiteY14" fmla="*/ 1883188 h 6858000"/>
              <a:gd name="connsiteX15" fmla="*/ 0 w 6096001"/>
              <a:gd name="connsiteY15" fmla="*/ 0 h 6858000"/>
              <a:gd name="connsiteX16" fmla="*/ 5214397 w 6096001"/>
              <a:gd name="connsiteY16" fmla="*/ 0 h 6858000"/>
              <a:gd name="connsiteX17" fmla="*/ 6096001 w 6096001"/>
              <a:gd name="connsiteY17" fmla="*/ 881604 h 6858000"/>
              <a:gd name="connsiteX18" fmla="*/ 6096001 w 6096001"/>
              <a:gd name="connsiteY18" fmla="*/ 6858000 h 6858000"/>
              <a:gd name="connsiteX19" fmla="*/ 0 w 6096001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1" h="6858000">
                <a:moveTo>
                  <a:pt x="2264571" y="1883188"/>
                </a:moveTo>
                <a:lnTo>
                  <a:pt x="2167943" y="3625805"/>
                </a:lnTo>
                <a:lnTo>
                  <a:pt x="2578239" y="3754069"/>
                </a:lnTo>
                <a:cubicBezTo>
                  <a:pt x="2706085" y="3671508"/>
                  <a:pt x="2863663" y="3625805"/>
                  <a:pt x="3056918" y="3625805"/>
                </a:cubicBezTo>
                <a:cubicBezTo>
                  <a:pt x="3412211" y="3625805"/>
                  <a:pt x="3638171" y="3814515"/>
                  <a:pt x="3638171" y="4124117"/>
                </a:cubicBezTo>
                <a:cubicBezTo>
                  <a:pt x="3638171" y="4433719"/>
                  <a:pt x="3412211" y="4644543"/>
                  <a:pt x="3047999" y="4644543"/>
                </a:cubicBezTo>
                <a:cubicBezTo>
                  <a:pt x="2720951" y="4644543"/>
                  <a:pt x="2435527" y="4511857"/>
                  <a:pt x="2222946" y="4342313"/>
                </a:cubicBezTo>
                <a:lnTo>
                  <a:pt x="1933063" y="4822933"/>
                </a:lnTo>
                <a:cubicBezTo>
                  <a:pt x="2173889" y="5024912"/>
                  <a:pt x="2542561" y="5175290"/>
                  <a:pt x="3058405" y="5175290"/>
                </a:cubicBezTo>
                <a:cubicBezTo>
                  <a:pt x="3755611" y="5175290"/>
                  <a:pt x="4229830" y="4728578"/>
                  <a:pt x="4229830" y="4110849"/>
                </a:cubicBezTo>
                <a:cubicBezTo>
                  <a:pt x="4229830" y="3493119"/>
                  <a:pt x="3801695" y="3114225"/>
                  <a:pt x="3178818" y="3114225"/>
                </a:cubicBezTo>
                <a:cubicBezTo>
                  <a:pt x="3007861" y="3114225"/>
                  <a:pt x="2810146" y="3155505"/>
                  <a:pt x="2689733" y="3214477"/>
                </a:cubicBezTo>
                <a:lnTo>
                  <a:pt x="2744736" y="2409511"/>
                </a:lnTo>
                <a:lnTo>
                  <a:pt x="4026169" y="2409511"/>
                </a:lnTo>
                <a:lnTo>
                  <a:pt x="4026169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40CB19B9-B076-F72F-4871-28E7733860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A7A9F534-6D07-AD6C-9EA8-9F5BCBDDD1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130455295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24548403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413228461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6275772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46681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228386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2558688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0121662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876797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133943012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62703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6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>
              <a:latin typeface="Arial" panose="020B0604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F971249-5979-2368-F1C4-62CA7A3E8D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077268 w 6096001"/>
              <a:gd name="connsiteY0" fmla="*/ 3517274 h 6858000"/>
              <a:gd name="connsiteX1" fmla="*/ 3608256 w 6096001"/>
              <a:gd name="connsiteY1" fmla="*/ 4024085 h 6858000"/>
              <a:gd name="connsiteX2" fmla="*/ 3609649 w 6096001"/>
              <a:gd name="connsiteY2" fmla="*/ 4025458 h 6858000"/>
              <a:gd name="connsiteX3" fmla="*/ 3064725 w 6096001"/>
              <a:gd name="connsiteY3" fmla="*/ 4548751 h 6858000"/>
              <a:gd name="connsiteX4" fmla="*/ 2503076 w 6096001"/>
              <a:gd name="connsiteY4" fmla="*/ 3973266 h 6858000"/>
              <a:gd name="connsiteX5" fmla="*/ 3077268 w 6096001"/>
              <a:gd name="connsiteY5" fmla="*/ 3517274 h 6858000"/>
              <a:gd name="connsiteX6" fmla="*/ 3834030 w 6096001"/>
              <a:gd name="connsiteY6" fmla="*/ 1925421 h 6858000"/>
              <a:gd name="connsiteX7" fmla="*/ 1945608 w 6096001"/>
              <a:gd name="connsiteY7" fmla="*/ 3731535 h 6858000"/>
              <a:gd name="connsiteX8" fmla="*/ 3085630 w 6096001"/>
              <a:gd name="connsiteY8" fmla="*/ 5025345 h 6858000"/>
              <a:gd name="connsiteX9" fmla="*/ 4148999 w 6096001"/>
              <a:gd name="connsiteY9" fmla="*/ 4015844 h 6858000"/>
              <a:gd name="connsiteX10" fmla="*/ 4150393 w 6096001"/>
              <a:gd name="connsiteY10" fmla="*/ 4015844 h 6858000"/>
              <a:gd name="connsiteX11" fmla="*/ 3195730 w 6096001"/>
              <a:gd name="connsiteY11" fmla="*/ 3083257 h 6858000"/>
              <a:gd name="connsiteX12" fmla="*/ 2525374 w 6096001"/>
              <a:gd name="connsiteY12" fmla="*/ 3338723 h 6858000"/>
              <a:gd name="connsiteX13" fmla="*/ 3946917 w 6096001"/>
              <a:gd name="connsiteY13" fmla="*/ 2402015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7268" y="3517274"/>
                </a:moveTo>
                <a:cubicBezTo>
                  <a:pt x="3396418" y="3517274"/>
                  <a:pt x="3608256" y="3704066"/>
                  <a:pt x="3608256" y="4024085"/>
                </a:cubicBezTo>
                <a:lnTo>
                  <a:pt x="3609649" y="4025458"/>
                </a:lnTo>
                <a:cubicBezTo>
                  <a:pt x="3609649" y="4352344"/>
                  <a:pt x="3379694" y="4548751"/>
                  <a:pt x="3064725" y="4548751"/>
                </a:cubicBezTo>
                <a:cubicBezTo>
                  <a:pt x="2727457" y="4548751"/>
                  <a:pt x="2503076" y="4293285"/>
                  <a:pt x="2503076" y="3973266"/>
                </a:cubicBezTo>
                <a:cubicBezTo>
                  <a:pt x="2503076" y="3691705"/>
                  <a:pt x="2779022" y="3517274"/>
                  <a:pt x="3077268" y="3517274"/>
                </a:cubicBezTo>
                <a:close/>
                <a:moveTo>
                  <a:pt x="3834030" y="1925421"/>
                </a:moveTo>
                <a:cubicBezTo>
                  <a:pt x="2503076" y="1967999"/>
                  <a:pt x="1945608" y="2776973"/>
                  <a:pt x="1945608" y="3731535"/>
                </a:cubicBezTo>
                <a:cubicBezTo>
                  <a:pt x="1945608" y="4574847"/>
                  <a:pt x="2416668" y="5025345"/>
                  <a:pt x="3085630" y="5025345"/>
                </a:cubicBezTo>
                <a:cubicBezTo>
                  <a:pt x="3700238" y="5025345"/>
                  <a:pt x="4148999" y="4616051"/>
                  <a:pt x="4148999" y="4015844"/>
                </a:cubicBezTo>
                <a:lnTo>
                  <a:pt x="4150393" y="4015844"/>
                </a:lnTo>
                <a:cubicBezTo>
                  <a:pt x="4150393" y="3432119"/>
                  <a:pt x="3730899" y="3083257"/>
                  <a:pt x="3195730" y="3083257"/>
                </a:cubicBezTo>
                <a:cubicBezTo>
                  <a:pt x="2897484" y="3083257"/>
                  <a:pt x="2654986" y="3210990"/>
                  <a:pt x="2525374" y="3338723"/>
                </a:cubicBezTo>
                <a:cubicBezTo>
                  <a:pt x="2710732" y="2700059"/>
                  <a:pt x="3160888" y="2436352"/>
                  <a:pt x="3946917" y="24020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90F01191-6B5C-8711-84AB-0C200ABE5B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CC808A73-1645-699E-2C12-C2D15CC52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82825084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694053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040627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204646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62505483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329550224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29814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49280611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45537280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236050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17258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719" y="2936557"/>
            <a:ext cx="11154344" cy="984885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0875602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421352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1051308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4097720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81961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503913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13734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26728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413673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+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86A756F5-203A-4C4F-9479-348B2905A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01514" y="0"/>
            <a:ext cx="6690486" cy="6858000"/>
          </a:xfrm>
          <a:custGeom>
            <a:avLst/>
            <a:gdLst>
              <a:gd name="connsiteX0" fmla="*/ 0 w 7942912"/>
              <a:gd name="connsiteY0" fmla="*/ 0 h 6858000"/>
              <a:gd name="connsiteX1" fmla="*/ 7942912 w 7942912"/>
              <a:gd name="connsiteY1" fmla="*/ 0 h 6858000"/>
              <a:gd name="connsiteX2" fmla="*/ 7942912 w 7942912"/>
              <a:gd name="connsiteY2" fmla="*/ 6858000 h 6858000"/>
              <a:gd name="connsiteX3" fmla="*/ 704040 w 7942912"/>
              <a:gd name="connsiteY3" fmla="*/ 6858000 h 6858000"/>
              <a:gd name="connsiteX4" fmla="*/ 704040 w 7942912"/>
              <a:gd name="connsiteY4" fmla="*/ 704067 h 6858000"/>
              <a:gd name="connsiteX5" fmla="*/ 141865 w 7942912"/>
              <a:gd name="connsiteY5" fmla="*/ 143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2912" h="6858000">
                <a:moveTo>
                  <a:pt x="0" y="0"/>
                </a:moveTo>
                <a:lnTo>
                  <a:pt x="7942912" y="0"/>
                </a:lnTo>
                <a:lnTo>
                  <a:pt x="7942912" y="6858000"/>
                </a:lnTo>
                <a:lnTo>
                  <a:pt x="704040" y="6858000"/>
                </a:lnTo>
                <a:lnTo>
                  <a:pt x="704040" y="704067"/>
                </a:lnTo>
                <a:cubicBezTo>
                  <a:pt x="704040" y="363826"/>
                  <a:pt x="462698" y="79953"/>
                  <a:pt x="141865" y="143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9" y="1700213"/>
            <a:ext cx="4692628" cy="234609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309427"/>
            <a:ext cx="4692628" cy="251848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9" y="5721999"/>
            <a:ext cx="4692628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515938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0119D7-2EC9-4840-AC33-164E710183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51263" y="443457"/>
            <a:ext cx="1324800" cy="48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803945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6D2D8C-219E-960F-BB05-16D5B9BA4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F714CC-E585-AEE2-BC19-16DE386E26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732845-4900-6D92-DB4E-CE62E27111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avi Presentation Templa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AD4E0C-ACE9-C8BC-C58D-8332E1008A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23005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106" y="2169758"/>
            <a:ext cx="4692628" cy="251848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6C7CBD7-5355-7F4D-BEF2-28CEADC3C9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B4768C2A-8E3C-DC4A-8FF7-DCBDDC643F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994361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72" r="15376"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72174905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73234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41790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24449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30289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88570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02233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21460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305975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55746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86A756F5-203A-4C4F-9479-348B2905A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01514" y="0"/>
            <a:ext cx="6690486" cy="6858000"/>
          </a:xfrm>
          <a:custGeom>
            <a:avLst/>
            <a:gdLst>
              <a:gd name="connsiteX0" fmla="*/ 0 w 7942912"/>
              <a:gd name="connsiteY0" fmla="*/ 0 h 6858000"/>
              <a:gd name="connsiteX1" fmla="*/ 7942912 w 7942912"/>
              <a:gd name="connsiteY1" fmla="*/ 0 h 6858000"/>
              <a:gd name="connsiteX2" fmla="*/ 7942912 w 7942912"/>
              <a:gd name="connsiteY2" fmla="*/ 6858000 h 6858000"/>
              <a:gd name="connsiteX3" fmla="*/ 704040 w 7942912"/>
              <a:gd name="connsiteY3" fmla="*/ 6858000 h 6858000"/>
              <a:gd name="connsiteX4" fmla="*/ 704040 w 7942912"/>
              <a:gd name="connsiteY4" fmla="*/ 704067 h 6858000"/>
              <a:gd name="connsiteX5" fmla="*/ 141865 w 7942912"/>
              <a:gd name="connsiteY5" fmla="*/ 143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2912" h="6858000">
                <a:moveTo>
                  <a:pt x="0" y="0"/>
                </a:moveTo>
                <a:lnTo>
                  <a:pt x="7942912" y="0"/>
                </a:lnTo>
                <a:lnTo>
                  <a:pt x="7942912" y="6858000"/>
                </a:lnTo>
                <a:lnTo>
                  <a:pt x="704040" y="6858000"/>
                </a:lnTo>
                <a:lnTo>
                  <a:pt x="704040" y="704067"/>
                </a:lnTo>
                <a:cubicBezTo>
                  <a:pt x="704040" y="363826"/>
                  <a:pt x="462698" y="79953"/>
                  <a:pt x="141865" y="143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9" y="1700213"/>
            <a:ext cx="4692628" cy="234609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309427"/>
            <a:ext cx="4692628" cy="251848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9" y="5721999"/>
            <a:ext cx="4692628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515938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0119D7-2EC9-4840-AC33-164E710183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51263" y="443457"/>
            <a:ext cx="1324800" cy="48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69853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49983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039669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75476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5080183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576664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418529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893062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0485426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382538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927580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8788458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67531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28334958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1479215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075131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237402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2660396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9498976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683140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63012624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683869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6447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079409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849674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603470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14331196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424834880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115408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50496749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67661839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92034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019894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43338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47D641-25C4-327A-559E-CE081D4210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56B0E1-C579-868C-0C21-5B30D771AF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CC6567-02E1-0A15-0287-62A60923A9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041AFC-FB85-4B59-9411-43951B776C2E}" type="datetimeFigureOut">
              <a:rPr lang="en-GB" smtClean="0"/>
              <a:t>15/08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700007-54F8-DE89-ABA4-7604ADA74A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76D2D2-1764-9629-2204-1B3BC3E5D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E4096-A8F4-4F17-946C-AC33682DAA0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960493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8225271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2246291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427575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533649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37808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26062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838325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719" y="2936557"/>
            <a:ext cx="11154344" cy="984885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5240648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+ Image">
    <p:bg>
      <p:bgPr>
        <a:blipFill dpi="0" rotWithShape="1">
          <a:blip r:embed="rId3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A7F8944-1C3A-B3CB-AE5D-5F79D01BF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7F8944-1C3A-B3CB-AE5D-5F79D01BF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106" y="2169758"/>
            <a:ext cx="4692628" cy="2518484"/>
          </a:xfrm>
        </p:spPr>
        <p:txBody>
          <a:bodyPr vert="horz" anchor="ctr">
            <a:noAutofit/>
          </a:bodyPr>
          <a:lstStyle>
            <a:lvl1pPr rtl="0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6C7CBD7-5355-7F4D-BEF2-28CEADC3C9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B4768C2A-8E3C-DC4A-8FF7-DCBDDC643F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0354703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6D2D8C-219E-960F-BB05-16D5B9BA4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F714CC-E585-AEE2-BC19-16DE386E26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732845-4900-6D92-DB4E-CE62E27111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avi Presentation Templa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AD4E0C-ACE9-C8BC-C58D-8332E1008A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98886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44887" y="2230805"/>
            <a:ext cx="10581795" cy="11442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5BB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70B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5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71941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5BB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70B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5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8909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5BB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35940" y="1511503"/>
            <a:ext cx="5164455" cy="43262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5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86004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5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63870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5BB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5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210060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323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(Text Only)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3185432"/>
            <a:ext cx="6966786" cy="234609"/>
          </a:xfrm>
        </p:spPr>
        <p:txBody>
          <a:bodyPr>
            <a:normAutofit/>
          </a:bodyPr>
          <a:lstStyle>
            <a:lvl1pPr>
              <a:defRPr sz="1600" spc="3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66552"/>
            <a:ext cx="11154344" cy="192903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D2830A3C-7ED1-2741-8ED4-600D60D8DB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5103637" cy="293892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962001-1C91-5E41-8B60-B760F9679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441777"/>
            <a:ext cx="2115580" cy="1331912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9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908197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433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6925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7761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427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8669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983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257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20552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21521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231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1643684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408634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78285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17224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0742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10223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11684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39308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3774272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1324253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32038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45CF2AFF-6382-CC47-A9B2-6962575BD2A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0061CA4A-3267-0A05-192C-5D4306FFB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1A9FCAB2-BA25-DBAB-7A6E-265C863487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2740184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91394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1287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00186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460938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72079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6712898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32194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6162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8528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3990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F82B885-0103-7D42-AE00-61FB2FE0C2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22951 w 6096001"/>
              <a:gd name="connsiteY0" fmla="*/ 1876235 h 6858000"/>
              <a:gd name="connsiteX1" fmla="*/ 2208500 w 6096001"/>
              <a:gd name="connsiteY1" fmla="*/ 2461578 h 6858000"/>
              <a:gd name="connsiteX2" fmla="*/ 2208500 w 6096001"/>
              <a:gd name="connsiteY2" fmla="*/ 2993835 h 6858000"/>
              <a:gd name="connsiteX3" fmla="*/ 2859036 w 6096001"/>
              <a:gd name="connsiteY3" fmla="*/ 2643188 h 6858000"/>
              <a:gd name="connsiteX4" fmla="*/ 2859036 w 6096001"/>
              <a:gd name="connsiteY4" fmla="*/ 4981766 h 6858000"/>
              <a:gd name="connsiteX5" fmla="*/ 3371270 w 6096001"/>
              <a:gd name="connsiteY5" fmla="*/ 4981766 h 6858000"/>
              <a:gd name="connsiteX6" fmla="*/ 3371270 w 6096001"/>
              <a:gd name="connsiteY6" fmla="*/ 1876235 h 6858000"/>
              <a:gd name="connsiteX7" fmla="*/ 0 w 6096001"/>
              <a:gd name="connsiteY7" fmla="*/ 0 h 6858000"/>
              <a:gd name="connsiteX8" fmla="*/ 5214397 w 6096001"/>
              <a:gd name="connsiteY8" fmla="*/ 0 h 6858000"/>
              <a:gd name="connsiteX9" fmla="*/ 6096001 w 6096001"/>
              <a:gd name="connsiteY9" fmla="*/ 881604 h 6858000"/>
              <a:gd name="connsiteX10" fmla="*/ 6096001 w 6096001"/>
              <a:gd name="connsiteY10" fmla="*/ 6858000 h 6858000"/>
              <a:gd name="connsiteX11" fmla="*/ 0 w 609600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1" h="6858000">
                <a:moveTo>
                  <a:pt x="3022951" y="1876235"/>
                </a:moveTo>
                <a:cubicBezTo>
                  <a:pt x="2752748" y="2187766"/>
                  <a:pt x="2482545" y="2379155"/>
                  <a:pt x="2208500" y="2461578"/>
                </a:cubicBezTo>
                <a:lnTo>
                  <a:pt x="2208500" y="2993835"/>
                </a:lnTo>
                <a:cubicBezTo>
                  <a:pt x="2426199" y="2942146"/>
                  <a:pt x="2640057" y="2824798"/>
                  <a:pt x="2859036" y="2643188"/>
                </a:cubicBezTo>
                <a:lnTo>
                  <a:pt x="2859036" y="4981766"/>
                </a:lnTo>
                <a:lnTo>
                  <a:pt x="3371270" y="4981766"/>
                </a:lnTo>
                <a:lnTo>
                  <a:pt x="3371270" y="1876235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986D095-697A-1E47-8E9F-EB12D0E9F6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814918A3-C773-18F8-ADDE-EC691CAF16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B0C1A345-F393-A646-D204-1844335C51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8187563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5479175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744043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76628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19062457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324340419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82368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181144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92853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19995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1927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85EFCE5-1951-3242-A232-F252911C4E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8800 w 6096001"/>
              <a:gd name="connsiteY0" fmla="*/ 1892300 h 6858000"/>
              <a:gd name="connsiteX1" fmla="*/ 2003079 w 6096001"/>
              <a:gd name="connsiteY1" fmla="*/ 2443193 h 6858000"/>
              <a:gd name="connsiteX2" fmla="*/ 2435905 w 6096001"/>
              <a:gd name="connsiteY2" fmla="*/ 2746603 h 6858000"/>
              <a:gd name="connsiteX3" fmla="*/ 3026635 w 6096001"/>
              <a:gd name="connsiteY3" fmla="*/ 2408238 h 6858000"/>
              <a:gd name="connsiteX4" fmla="*/ 3472150 w 6096001"/>
              <a:gd name="connsiteY4" fmla="*/ 2777364 h 6858000"/>
              <a:gd name="connsiteX5" fmla="*/ 2825026 w 6096001"/>
              <a:gd name="connsiteY5" fmla="*/ 3514218 h 6858000"/>
              <a:gd name="connsiteX6" fmla="*/ 1986161 w 6096001"/>
              <a:gd name="connsiteY6" fmla="*/ 4857893 h 6858000"/>
              <a:gd name="connsiteX7" fmla="*/ 1986161 w 6096001"/>
              <a:gd name="connsiteY7" fmla="*/ 5014492 h 6858000"/>
              <a:gd name="connsiteX8" fmla="*/ 4102356 w 6096001"/>
              <a:gd name="connsiteY8" fmla="*/ 5014492 h 6858000"/>
              <a:gd name="connsiteX9" fmla="*/ 4102356 w 6096001"/>
              <a:gd name="connsiteY9" fmla="*/ 4515333 h 6858000"/>
              <a:gd name="connsiteX10" fmla="*/ 2614957 w 6096001"/>
              <a:gd name="connsiteY10" fmla="*/ 4515333 h 6858000"/>
              <a:gd name="connsiteX11" fmla="*/ 3301557 w 6096001"/>
              <a:gd name="connsiteY11" fmla="*/ 3809239 h 6858000"/>
              <a:gd name="connsiteX12" fmla="*/ 4053011 w 6096001"/>
              <a:gd name="connsiteY12" fmla="*/ 2750798 h 6858000"/>
              <a:gd name="connsiteX13" fmla="*/ 3078800 w 6096001"/>
              <a:gd name="connsiteY13" fmla="*/ 1892300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8800" y="1892300"/>
                </a:moveTo>
                <a:cubicBezTo>
                  <a:pt x="2571252" y="1892300"/>
                  <a:pt x="2235706" y="2082456"/>
                  <a:pt x="2003079" y="2443193"/>
                </a:cubicBezTo>
                <a:lnTo>
                  <a:pt x="2435905" y="2746603"/>
                </a:lnTo>
                <a:cubicBezTo>
                  <a:pt x="2576891" y="2529882"/>
                  <a:pt x="2768632" y="2408238"/>
                  <a:pt x="3026635" y="2408238"/>
                </a:cubicBezTo>
                <a:cubicBezTo>
                  <a:pt x="3318476" y="2408238"/>
                  <a:pt x="3472150" y="2556447"/>
                  <a:pt x="3472150" y="2777364"/>
                </a:cubicBezTo>
                <a:cubicBezTo>
                  <a:pt x="3472150" y="3020651"/>
                  <a:pt x="3301557" y="3198224"/>
                  <a:pt x="2825026" y="3514218"/>
                </a:cubicBezTo>
                <a:cubicBezTo>
                  <a:pt x="2231476" y="3916901"/>
                  <a:pt x="1986161" y="4315389"/>
                  <a:pt x="1986161" y="4857893"/>
                </a:cubicBezTo>
                <a:lnTo>
                  <a:pt x="1986161" y="5014492"/>
                </a:lnTo>
                <a:lnTo>
                  <a:pt x="4102356" y="5014492"/>
                </a:lnTo>
                <a:lnTo>
                  <a:pt x="4102356" y="4515333"/>
                </a:lnTo>
                <a:lnTo>
                  <a:pt x="2614957" y="4515333"/>
                </a:lnTo>
                <a:cubicBezTo>
                  <a:pt x="2645974" y="4346150"/>
                  <a:pt x="2891289" y="4081889"/>
                  <a:pt x="3301557" y="3809239"/>
                </a:cubicBezTo>
                <a:cubicBezTo>
                  <a:pt x="3834483" y="3456891"/>
                  <a:pt x="4053011" y="3175852"/>
                  <a:pt x="4053011" y="2750798"/>
                </a:cubicBezTo>
                <a:cubicBezTo>
                  <a:pt x="4053011" y="2255833"/>
                  <a:pt x="3646972" y="1892300"/>
                  <a:pt x="3078800" y="1892300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A70D9B68-451F-F24D-9AD8-10CAC45526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AD887088-580E-3280-834E-11FE0CAB12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9D3AEDA3-676C-74F6-E9E7-0A9358720A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3895929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5173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9570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46692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11144931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039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11144931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825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11144931" cy="4608511"/>
          </a:xfrm>
        </p:spPr>
        <p:txBody>
          <a:bodyPr numCol="2" spcCol="360000"/>
          <a:lstStyle>
            <a:lvl1pPr marL="342891" indent="-342891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63305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11144931" cy="4608511"/>
          </a:xfrm>
        </p:spPr>
        <p:txBody>
          <a:bodyPr numCol="2" spcCol="360000"/>
          <a:lstStyle>
            <a:lvl1pPr marL="457189" indent="-457189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531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1"/>
            <a:ext cx="11144931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4198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1"/>
            <a:ext cx="11144931" cy="4204608"/>
          </a:xfrm>
        </p:spPr>
        <p:txBody>
          <a:bodyPr numCol="2" spcCol="360000"/>
          <a:lstStyle>
            <a:lvl1pPr marL="342891" indent="-342891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1659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1"/>
            <a:ext cx="11144931" cy="4204608"/>
          </a:xfrm>
        </p:spPr>
        <p:txBody>
          <a:bodyPr numCol="2" spcCol="360000"/>
          <a:lstStyle>
            <a:lvl1pPr marL="457189" indent="-457189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961079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447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36D7151-EE44-6D41-A861-17BC5B8F0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115819 w 6096001"/>
              <a:gd name="connsiteY0" fmla="*/ 1901215 h 6858000"/>
              <a:gd name="connsiteX1" fmla="*/ 2096475 w 6096001"/>
              <a:gd name="connsiteY1" fmla="*/ 2469051 h 6858000"/>
              <a:gd name="connsiteX2" fmla="*/ 2517092 w 6096001"/>
              <a:gd name="connsiteY2" fmla="*/ 2737003 h 6858000"/>
              <a:gd name="connsiteX3" fmla="*/ 3061016 w 6096001"/>
              <a:gd name="connsiteY3" fmla="*/ 2401022 h 6858000"/>
              <a:gd name="connsiteX4" fmla="*/ 3455600 w 6096001"/>
              <a:gd name="connsiteY4" fmla="*/ 2732838 h 6858000"/>
              <a:gd name="connsiteX5" fmla="*/ 2725345 w 6096001"/>
              <a:gd name="connsiteY5" fmla="*/ 3202101 h 6858000"/>
              <a:gd name="connsiteX6" fmla="*/ 2725345 w 6096001"/>
              <a:gd name="connsiteY6" fmla="*/ 3663034 h 6858000"/>
              <a:gd name="connsiteX7" fmla="*/ 3570688 w 6096001"/>
              <a:gd name="connsiteY7" fmla="*/ 4110083 h 6858000"/>
              <a:gd name="connsiteX8" fmla="*/ 3044575 w 6096001"/>
              <a:gd name="connsiteY8" fmla="*/ 4544637 h 6858000"/>
              <a:gd name="connsiteX9" fmla="*/ 2300618 w 6096001"/>
              <a:gd name="connsiteY9" fmla="*/ 4273909 h 6858000"/>
              <a:gd name="connsiteX10" fmla="*/ 1977278 w 6096001"/>
              <a:gd name="connsiteY10" fmla="*/ 4712628 h 6858000"/>
              <a:gd name="connsiteX11" fmla="*/ 1978648 w 6096001"/>
              <a:gd name="connsiteY11" fmla="*/ 4711240 h 6858000"/>
              <a:gd name="connsiteX12" fmla="*/ 3048685 w 6096001"/>
              <a:gd name="connsiteY12" fmla="*/ 5043056 h 6858000"/>
              <a:gd name="connsiteX13" fmla="*/ 4118722 w 6096001"/>
              <a:gd name="connsiteY13" fmla="*/ 4126744 h 6858000"/>
              <a:gd name="connsiteX14" fmla="*/ 3455600 w 6096001"/>
              <a:gd name="connsiteY14" fmla="*/ 3360373 h 6858000"/>
              <a:gd name="connsiteX15" fmla="*/ 3999524 w 6096001"/>
              <a:gd name="connsiteY15" fmla="*/ 2628712 h 6858000"/>
              <a:gd name="connsiteX16" fmla="*/ 3115819 w 6096001"/>
              <a:gd name="connsiteY16" fmla="*/ 1901215 h 6858000"/>
              <a:gd name="connsiteX17" fmla="*/ 0 w 6096001"/>
              <a:gd name="connsiteY17" fmla="*/ 0 h 6858000"/>
              <a:gd name="connsiteX18" fmla="*/ 5214397 w 6096001"/>
              <a:gd name="connsiteY18" fmla="*/ 0 h 6858000"/>
              <a:gd name="connsiteX19" fmla="*/ 6096001 w 6096001"/>
              <a:gd name="connsiteY19" fmla="*/ 881604 h 6858000"/>
              <a:gd name="connsiteX20" fmla="*/ 6096001 w 6096001"/>
              <a:gd name="connsiteY20" fmla="*/ 6858000 h 6858000"/>
              <a:gd name="connsiteX21" fmla="*/ 0 w 6096001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1" h="6858000">
                <a:moveTo>
                  <a:pt x="3115819" y="1901215"/>
                </a:moveTo>
                <a:cubicBezTo>
                  <a:pt x="2614368" y="1901215"/>
                  <a:pt x="2278697" y="2128905"/>
                  <a:pt x="2096475" y="2469051"/>
                </a:cubicBezTo>
                <a:lnTo>
                  <a:pt x="2517092" y="2737003"/>
                </a:lnTo>
                <a:cubicBezTo>
                  <a:pt x="2602037" y="2581508"/>
                  <a:pt x="2780148" y="2401022"/>
                  <a:pt x="3061016" y="2401022"/>
                </a:cubicBezTo>
                <a:cubicBezTo>
                  <a:pt x="3302151" y="2401022"/>
                  <a:pt x="3455600" y="2534304"/>
                  <a:pt x="3455600" y="2732838"/>
                </a:cubicBezTo>
                <a:cubicBezTo>
                  <a:pt x="3455600" y="2964693"/>
                  <a:pt x="3285710" y="3197936"/>
                  <a:pt x="2725345" y="3202101"/>
                </a:cubicBezTo>
                <a:lnTo>
                  <a:pt x="2725345" y="3663034"/>
                </a:lnTo>
                <a:cubicBezTo>
                  <a:pt x="3303521" y="3663034"/>
                  <a:pt x="3570688" y="3825471"/>
                  <a:pt x="3570688" y="4110083"/>
                </a:cubicBezTo>
                <a:cubicBezTo>
                  <a:pt x="3570688" y="4372481"/>
                  <a:pt x="3384356" y="4544637"/>
                  <a:pt x="3044575" y="4544637"/>
                </a:cubicBezTo>
                <a:cubicBezTo>
                  <a:pt x="2737676" y="4544637"/>
                  <a:pt x="2504761" y="4433570"/>
                  <a:pt x="2300618" y="4273909"/>
                </a:cubicBezTo>
                <a:lnTo>
                  <a:pt x="1977278" y="4712628"/>
                </a:lnTo>
                <a:lnTo>
                  <a:pt x="1978648" y="4711240"/>
                </a:lnTo>
                <a:cubicBezTo>
                  <a:pt x="2271846" y="4926434"/>
                  <a:pt x="2581486" y="5043056"/>
                  <a:pt x="3048685" y="5043056"/>
                </a:cubicBezTo>
                <a:cubicBezTo>
                  <a:pt x="3698106" y="5043056"/>
                  <a:pt x="4118722" y="4659870"/>
                  <a:pt x="4118722" y="4126744"/>
                </a:cubicBezTo>
                <a:cubicBezTo>
                  <a:pt x="4118722" y="3708850"/>
                  <a:pt x="3863886" y="3468665"/>
                  <a:pt x="3455600" y="3360373"/>
                </a:cubicBezTo>
                <a:cubicBezTo>
                  <a:pt x="3791271" y="3239587"/>
                  <a:pt x="3999524" y="2999402"/>
                  <a:pt x="3999524" y="2628712"/>
                </a:cubicBezTo>
                <a:cubicBezTo>
                  <a:pt x="3999524" y="2206653"/>
                  <a:pt x="3617271" y="1901215"/>
                  <a:pt x="3115819" y="19012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2461434-5D17-DC5F-DC1A-E69D4E2BBC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63FD04FF-C6D3-AE64-9C91-6E3CEBDB6B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7719727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5" y="1319653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1"/>
            <a:ext cx="5343019" cy="4204608"/>
          </a:xfrm>
        </p:spPr>
        <p:txBody>
          <a:bodyPr numCol="1" spcCol="180000">
            <a:normAutofit/>
          </a:bodyPr>
          <a:lstStyle>
            <a:lvl1pPr marL="342891" indent="-34289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2" y="1319653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1"/>
            <a:ext cx="5343019" cy="4204608"/>
          </a:xfrm>
        </p:spPr>
        <p:txBody>
          <a:bodyPr numCol="1" spcCol="180000">
            <a:normAutofit/>
          </a:bodyPr>
          <a:lstStyle>
            <a:lvl1pPr marL="342891" indent="-34289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27959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3"/>
            <a:ext cx="3495195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1"/>
            <a:ext cx="3485283" cy="4204608"/>
          </a:xfrm>
        </p:spPr>
        <p:txBody>
          <a:bodyPr numCol="1" spcCol="180000">
            <a:normAutofit/>
          </a:bodyPr>
          <a:lstStyle>
            <a:lvl1pPr marL="342891" indent="-34289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3" y="1319653"/>
            <a:ext cx="3495195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8" y="1708831"/>
            <a:ext cx="3485283" cy="4204608"/>
          </a:xfrm>
        </p:spPr>
        <p:txBody>
          <a:bodyPr numCol="1" spcCol="180000">
            <a:normAutofit/>
          </a:bodyPr>
          <a:lstStyle>
            <a:lvl1pPr marL="342891" indent="-34289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5" y="1319653"/>
            <a:ext cx="3495195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5000" y="1708831"/>
            <a:ext cx="3485283" cy="4204608"/>
          </a:xfrm>
        </p:spPr>
        <p:txBody>
          <a:bodyPr numCol="1" spcCol="180000">
            <a:normAutofit/>
          </a:bodyPr>
          <a:lstStyle>
            <a:lvl1pPr marL="342891" indent="-34289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169105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6" y="1191567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7" y="1191567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9" y="1378325"/>
            <a:ext cx="5036457" cy="172339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9" y="2154364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9" y="1597378"/>
            <a:ext cx="5036457" cy="382135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7" y="1378325"/>
            <a:ext cx="5036457" cy="172339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7" y="2154364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7" y="1597378"/>
            <a:ext cx="5036457" cy="382135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15847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7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8" y="1378325"/>
            <a:ext cx="3214437" cy="172339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8" y="2154364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8" y="1597378"/>
            <a:ext cx="3214437" cy="382135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7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7" y="1378325"/>
            <a:ext cx="3201361" cy="172339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7" y="2154364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7" y="1597378"/>
            <a:ext cx="3201361" cy="382135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7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1" cy="172339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4"/>
            <a:ext cx="321197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1" cy="382135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438407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1"/>
            <a:ext cx="3287436" cy="2593767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2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3" y="3319671"/>
            <a:ext cx="3287436" cy="2593767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3" y="2874302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7" y="3326199"/>
            <a:ext cx="3287436" cy="2593767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7" y="2880830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6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6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6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722100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7" y="3170771"/>
            <a:ext cx="2545467" cy="2888575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7" y="2559970"/>
            <a:ext cx="2545467" cy="4431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7" cy="2888575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7" cy="4431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5" y="1518458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7" cy="2888575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7" cy="4431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8" y="1518458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7" y="3170771"/>
            <a:ext cx="2545467" cy="2888575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7" y="2559970"/>
            <a:ext cx="2545467" cy="4431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947221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3" cy="2888575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3" cy="4431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90" y="1518458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90" y="3170771"/>
            <a:ext cx="2007343" cy="2888575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90" y="2559970"/>
            <a:ext cx="2007343" cy="4431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3" cy="2888575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3" cy="4431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90" y="1518458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90" y="3170771"/>
            <a:ext cx="2007343" cy="2888575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90" y="2559970"/>
            <a:ext cx="2007343" cy="4431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5" cy="924455"/>
          </a:xfrm>
        </p:spPr>
        <p:txBody>
          <a:bodyPr anchor="ctr">
            <a:noAutofit/>
          </a:bodyPr>
          <a:lstStyle>
            <a:lvl1pPr algn="ctr">
              <a:defRPr sz="105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1" y="3170771"/>
            <a:ext cx="2007343" cy="2888575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1" y="2559970"/>
            <a:ext cx="2007343" cy="4431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808035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6"/>
            <a:ext cx="869951" cy="869951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8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6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3"/>
            <a:ext cx="869951" cy="869951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6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4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4" y="1304926"/>
            <a:ext cx="869951" cy="869951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6" y="1687058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6" y="1304926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4" y="3786233"/>
            <a:ext cx="869951" cy="869951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6" y="4168366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6" y="3786234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129835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5564867" cy="4608511"/>
          </a:xfrm>
        </p:spPr>
        <p:txBody>
          <a:bodyPr numCol="1" spcCol="180000"/>
          <a:lstStyle>
            <a:lvl1pPr marL="342891" indent="-342891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10" y="2420147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50" y="5013398"/>
            <a:ext cx="3715133" cy="792044"/>
          </a:xfrm>
        </p:spPr>
        <p:txBody>
          <a:bodyPr anchor="t">
            <a:normAutofit/>
          </a:bodyPr>
          <a:lstStyle>
            <a:lvl1pPr marL="179384" indent="-179384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5" cy="767875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10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50" y="3384614"/>
            <a:ext cx="3715133" cy="792044"/>
          </a:xfrm>
        </p:spPr>
        <p:txBody>
          <a:bodyPr anchor="t">
            <a:normAutofit/>
          </a:bodyPr>
          <a:lstStyle>
            <a:lvl1pPr marL="179384" indent="-179384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1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5"/>
            <a:ext cx="767875" cy="767875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10" y="-837419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50" y="1755834"/>
            <a:ext cx="3715133" cy="792044"/>
          </a:xfrm>
        </p:spPr>
        <p:txBody>
          <a:bodyPr anchor="t">
            <a:normAutofit/>
          </a:bodyPr>
          <a:lstStyle>
            <a:lvl1pPr marL="179384" indent="-179384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5" cy="767875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1599621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2" y="2354656"/>
            <a:ext cx="11169081" cy="3558783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1" cy="853195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5"/>
            <a:ext cx="2290923" cy="2745803"/>
          </a:xfrm>
        </p:spPr>
        <p:txBody>
          <a:bodyPr>
            <a:normAutofit/>
          </a:bodyPr>
          <a:lstStyle>
            <a:lvl1pPr marL="177796" indent="-177796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3" cy="443199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4" y="3054705"/>
            <a:ext cx="2231105" cy="2745803"/>
          </a:xfrm>
        </p:spPr>
        <p:txBody>
          <a:bodyPr>
            <a:normAutofit/>
          </a:bodyPr>
          <a:lstStyle>
            <a:lvl1pPr marL="177796" indent="-177796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4" y="2501966"/>
            <a:ext cx="2231105" cy="443199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5"/>
            <a:ext cx="2251851" cy="2745803"/>
          </a:xfrm>
        </p:spPr>
        <p:txBody>
          <a:bodyPr>
            <a:normAutofit/>
          </a:bodyPr>
          <a:lstStyle>
            <a:lvl1pPr marL="177796" indent="-177796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1" cy="443199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5"/>
            <a:ext cx="2290923" cy="2745803"/>
          </a:xfrm>
        </p:spPr>
        <p:txBody>
          <a:bodyPr>
            <a:normAutofit/>
          </a:bodyPr>
          <a:lstStyle>
            <a:lvl1pPr marL="177796" indent="-177796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3" cy="443199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3047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AEA1B93-DB0B-33C4-6C50-8FD2474CA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218999 w 6096001"/>
              <a:gd name="connsiteY0" fmla="*/ 2668987 h 6858000"/>
              <a:gd name="connsiteX1" fmla="*/ 3218999 w 6096001"/>
              <a:gd name="connsiteY1" fmla="*/ 3752595 h 6858000"/>
              <a:gd name="connsiteX2" fmla="*/ 2442001 w 6096001"/>
              <a:gd name="connsiteY2" fmla="*/ 3752595 h 6858000"/>
              <a:gd name="connsiteX3" fmla="*/ 3218999 w 6096001"/>
              <a:gd name="connsiteY3" fmla="*/ 1883188 h 6858000"/>
              <a:gd name="connsiteX4" fmla="*/ 1820976 w 6096001"/>
              <a:gd name="connsiteY4" fmla="*/ 3839578 h 6858000"/>
              <a:gd name="connsiteX5" fmla="*/ 1820976 w 6096001"/>
              <a:gd name="connsiteY5" fmla="*/ 4242061 h 6858000"/>
              <a:gd name="connsiteX6" fmla="*/ 3218999 w 6096001"/>
              <a:gd name="connsiteY6" fmla="*/ 4242061 h 6858000"/>
              <a:gd name="connsiteX7" fmla="*/ 3218999 w 6096001"/>
              <a:gd name="connsiteY7" fmla="*/ 5164970 h 6858000"/>
              <a:gd name="connsiteX8" fmla="*/ 3791372 w 6096001"/>
              <a:gd name="connsiteY8" fmla="*/ 5164970 h 6858000"/>
              <a:gd name="connsiteX9" fmla="*/ 3791372 w 6096001"/>
              <a:gd name="connsiteY9" fmla="*/ 4242061 h 6858000"/>
              <a:gd name="connsiteX10" fmla="*/ 4275028 w 6096001"/>
              <a:gd name="connsiteY10" fmla="*/ 4242061 h 6858000"/>
              <a:gd name="connsiteX11" fmla="*/ 4275028 w 6096001"/>
              <a:gd name="connsiteY11" fmla="*/ 3752595 h 6858000"/>
              <a:gd name="connsiteX12" fmla="*/ 3791372 w 6096001"/>
              <a:gd name="connsiteY12" fmla="*/ 3752595 h 6858000"/>
              <a:gd name="connsiteX13" fmla="*/ 3791372 w 6096001"/>
              <a:gd name="connsiteY13" fmla="*/ 1883188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218999" y="2668987"/>
                </a:moveTo>
                <a:lnTo>
                  <a:pt x="3218999" y="3752595"/>
                </a:lnTo>
                <a:lnTo>
                  <a:pt x="2442001" y="3752595"/>
                </a:lnTo>
                <a:close/>
                <a:moveTo>
                  <a:pt x="3218999" y="1883188"/>
                </a:moveTo>
                <a:lnTo>
                  <a:pt x="1820976" y="3839578"/>
                </a:lnTo>
                <a:lnTo>
                  <a:pt x="1820976" y="4242061"/>
                </a:lnTo>
                <a:lnTo>
                  <a:pt x="3218999" y="4242061"/>
                </a:lnTo>
                <a:lnTo>
                  <a:pt x="3218999" y="5164970"/>
                </a:lnTo>
                <a:lnTo>
                  <a:pt x="3791372" y="5164970"/>
                </a:lnTo>
                <a:lnTo>
                  <a:pt x="3791372" y="4242061"/>
                </a:lnTo>
                <a:lnTo>
                  <a:pt x="4275028" y="4242061"/>
                </a:lnTo>
                <a:lnTo>
                  <a:pt x="4275028" y="3752595"/>
                </a:lnTo>
                <a:lnTo>
                  <a:pt x="3791372" y="3752595"/>
                </a:lnTo>
                <a:lnTo>
                  <a:pt x="3791372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3314B818-1A45-4088-0941-EB7C6968EA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5C3A23D4-78BE-16F7-8E29-ADEBA311D0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856902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20" y="368300"/>
            <a:ext cx="11163869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189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29189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20" y="368300"/>
            <a:ext cx="11163869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6" y="3227929"/>
            <a:ext cx="5326063" cy="268550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6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189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189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5289877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21" y="368300"/>
            <a:ext cx="5574281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6" y="368301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6" y="3227929"/>
            <a:ext cx="5326063" cy="268550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189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239233281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7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21" y="368300"/>
            <a:ext cx="5574281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30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293371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21" y="368300"/>
            <a:ext cx="5574281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30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402223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30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8" y="1329379"/>
            <a:ext cx="5580063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189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21" y="368300"/>
            <a:ext cx="5574281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61439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4360962"/>
            <a:ext cx="5234437" cy="1538516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915593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6" y="4360962"/>
            <a:ext cx="5234437" cy="1538516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6" y="3915593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6"/>
            <a:ext cx="5234439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6" y="1304926"/>
            <a:ext cx="5234439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356410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1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8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3" y="3726649"/>
            <a:ext cx="3287436" cy="2121011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3" y="328128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7" y="3733177"/>
            <a:ext cx="3287436" cy="2121011"/>
          </a:xfrm>
        </p:spPr>
        <p:txBody>
          <a:bodyPr>
            <a:normAutofit/>
          </a:bodyPr>
          <a:lstStyle>
            <a:lvl1pPr marL="177796" indent="-177796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7" y="328780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9" y="1304926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2" y="1304926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7" y="1304926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756397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3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7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3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7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6"/>
            <a:ext cx="11144931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314687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1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353142"/>
            <a:ext cx="261631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8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7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5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4"/>
            <a:ext cx="2007343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1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4"/>
            <a:ext cx="2007343" cy="3877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90" y="4066434"/>
            <a:ext cx="2007343" cy="3877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4"/>
            <a:ext cx="2007343" cy="3877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90" y="4066434"/>
            <a:ext cx="2007343" cy="3877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1" y="4066434"/>
            <a:ext cx="2007343" cy="3877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4"/>
            <a:ext cx="2007343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4"/>
            <a:ext cx="2007343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90" y="2931454"/>
            <a:ext cx="2007343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1" y="2931454"/>
            <a:ext cx="2007343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34015000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49.xml"/><Relationship Id="rId42" Type="http://schemas.openxmlformats.org/officeDocument/2006/relationships/slideLayout" Target="../slideLayouts/slideLayout70.xml"/><Relationship Id="rId47" Type="http://schemas.openxmlformats.org/officeDocument/2006/relationships/slideLayout" Target="../slideLayouts/slideLayout75.xml"/><Relationship Id="rId63" Type="http://schemas.openxmlformats.org/officeDocument/2006/relationships/slideLayout" Target="../slideLayouts/slideLayout91.xml"/><Relationship Id="rId68" Type="http://schemas.openxmlformats.org/officeDocument/2006/relationships/slideLayout" Target="../slideLayouts/slideLayout96.xml"/><Relationship Id="rId84" Type="http://schemas.openxmlformats.org/officeDocument/2006/relationships/slideLayout" Target="../slideLayouts/slideLayout112.xml"/><Relationship Id="rId89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60.xml"/><Relationship Id="rId37" Type="http://schemas.openxmlformats.org/officeDocument/2006/relationships/slideLayout" Target="../slideLayouts/slideLayout65.xml"/><Relationship Id="rId53" Type="http://schemas.openxmlformats.org/officeDocument/2006/relationships/slideLayout" Target="../slideLayouts/slideLayout81.xml"/><Relationship Id="rId58" Type="http://schemas.openxmlformats.org/officeDocument/2006/relationships/slideLayout" Target="../slideLayouts/slideLayout86.xml"/><Relationship Id="rId74" Type="http://schemas.openxmlformats.org/officeDocument/2006/relationships/slideLayout" Target="../slideLayouts/slideLayout102.xml"/><Relationship Id="rId79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33.xml"/><Relationship Id="rId90" Type="http://schemas.openxmlformats.org/officeDocument/2006/relationships/slideLayout" Target="../slideLayouts/slideLayout118.xml"/><Relationship Id="rId95" Type="http://schemas.openxmlformats.org/officeDocument/2006/relationships/oleObject" Target="../embeddings/oleObject2.bin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43" Type="http://schemas.openxmlformats.org/officeDocument/2006/relationships/slideLayout" Target="../slideLayouts/slideLayout71.xml"/><Relationship Id="rId48" Type="http://schemas.openxmlformats.org/officeDocument/2006/relationships/slideLayout" Target="../slideLayouts/slideLayout76.xml"/><Relationship Id="rId64" Type="http://schemas.openxmlformats.org/officeDocument/2006/relationships/slideLayout" Target="../slideLayouts/slideLayout92.xml"/><Relationship Id="rId69" Type="http://schemas.openxmlformats.org/officeDocument/2006/relationships/slideLayout" Target="../slideLayouts/slideLayout97.xml"/><Relationship Id="rId8" Type="http://schemas.openxmlformats.org/officeDocument/2006/relationships/slideLayout" Target="../slideLayouts/slideLayout36.xml"/><Relationship Id="rId51" Type="http://schemas.openxmlformats.org/officeDocument/2006/relationships/slideLayout" Target="../slideLayouts/slideLayout79.xml"/><Relationship Id="rId72" Type="http://schemas.openxmlformats.org/officeDocument/2006/relationships/slideLayout" Target="../slideLayouts/slideLayout100.xml"/><Relationship Id="rId80" Type="http://schemas.openxmlformats.org/officeDocument/2006/relationships/slideLayout" Target="../slideLayouts/slideLayout108.xml"/><Relationship Id="rId85" Type="http://schemas.openxmlformats.org/officeDocument/2006/relationships/slideLayout" Target="../slideLayouts/slideLayout113.xml"/><Relationship Id="rId93" Type="http://schemas.openxmlformats.org/officeDocument/2006/relationships/theme" Target="../theme/theme2.xml"/><Relationship Id="rId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61.xml"/><Relationship Id="rId38" Type="http://schemas.openxmlformats.org/officeDocument/2006/relationships/slideLayout" Target="../slideLayouts/slideLayout66.xml"/><Relationship Id="rId46" Type="http://schemas.openxmlformats.org/officeDocument/2006/relationships/slideLayout" Target="../slideLayouts/slideLayout74.xml"/><Relationship Id="rId59" Type="http://schemas.openxmlformats.org/officeDocument/2006/relationships/slideLayout" Target="../slideLayouts/slideLayout87.xml"/><Relationship Id="rId67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48.xml"/><Relationship Id="rId41" Type="http://schemas.openxmlformats.org/officeDocument/2006/relationships/slideLayout" Target="../slideLayouts/slideLayout69.xml"/><Relationship Id="rId54" Type="http://schemas.openxmlformats.org/officeDocument/2006/relationships/slideLayout" Target="../slideLayouts/slideLayout82.xml"/><Relationship Id="rId62" Type="http://schemas.openxmlformats.org/officeDocument/2006/relationships/slideLayout" Target="../slideLayouts/slideLayout90.xml"/><Relationship Id="rId70" Type="http://schemas.openxmlformats.org/officeDocument/2006/relationships/slideLayout" Target="../slideLayouts/slideLayout98.xml"/><Relationship Id="rId75" Type="http://schemas.openxmlformats.org/officeDocument/2006/relationships/slideLayout" Target="../slideLayouts/slideLayout103.xml"/><Relationship Id="rId83" Type="http://schemas.openxmlformats.org/officeDocument/2006/relationships/slideLayout" Target="../slideLayouts/slideLayout111.xml"/><Relationship Id="rId88" Type="http://schemas.openxmlformats.org/officeDocument/2006/relationships/slideLayout" Target="../slideLayouts/slideLayout116.xml"/><Relationship Id="rId91" Type="http://schemas.openxmlformats.org/officeDocument/2006/relationships/slideLayout" Target="../slideLayouts/slideLayout119.xml"/><Relationship Id="rId96" Type="http://schemas.openxmlformats.org/officeDocument/2006/relationships/image" Target="../media/image11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36" Type="http://schemas.openxmlformats.org/officeDocument/2006/relationships/slideLayout" Target="../slideLayouts/slideLayout64.xml"/><Relationship Id="rId49" Type="http://schemas.openxmlformats.org/officeDocument/2006/relationships/slideLayout" Target="../slideLayouts/slideLayout77.xml"/><Relationship Id="rId57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9.xml"/><Relationship Id="rId44" Type="http://schemas.openxmlformats.org/officeDocument/2006/relationships/slideLayout" Target="../slideLayouts/slideLayout72.xml"/><Relationship Id="rId52" Type="http://schemas.openxmlformats.org/officeDocument/2006/relationships/slideLayout" Target="../slideLayouts/slideLayout80.xml"/><Relationship Id="rId60" Type="http://schemas.openxmlformats.org/officeDocument/2006/relationships/slideLayout" Target="../slideLayouts/slideLayout88.xml"/><Relationship Id="rId65" Type="http://schemas.openxmlformats.org/officeDocument/2006/relationships/slideLayout" Target="../slideLayouts/slideLayout93.xml"/><Relationship Id="rId73" Type="http://schemas.openxmlformats.org/officeDocument/2006/relationships/slideLayout" Target="../slideLayouts/slideLayout101.xml"/><Relationship Id="rId78" Type="http://schemas.openxmlformats.org/officeDocument/2006/relationships/slideLayout" Target="../slideLayouts/slideLayout106.xml"/><Relationship Id="rId81" Type="http://schemas.openxmlformats.org/officeDocument/2006/relationships/slideLayout" Target="../slideLayouts/slideLayout109.xml"/><Relationship Id="rId86" Type="http://schemas.openxmlformats.org/officeDocument/2006/relationships/slideLayout" Target="../slideLayouts/slideLayout114.xml"/><Relationship Id="rId94" Type="http://schemas.openxmlformats.org/officeDocument/2006/relationships/tags" Target="../tags/tag3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9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62.xml"/><Relationship Id="rId50" Type="http://schemas.openxmlformats.org/officeDocument/2006/relationships/slideLayout" Target="../slideLayouts/slideLayout78.xml"/><Relationship Id="rId55" Type="http://schemas.openxmlformats.org/officeDocument/2006/relationships/slideLayout" Target="../slideLayouts/slideLayout83.xml"/><Relationship Id="rId76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35.xml"/><Relationship Id="rId71" Type="http://schemas.openxmlformats.org/officeDocument/2006/relationships/slideLayout" Target="../slideLayouts/slideLayout99.xml"/><Relationship Id="rId9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52.xml"/><Relationship Id="rId40" Type="http://schemas.openxmlformats.org/officeDocument/2006/relationships/slideLayout" Target="../slideLayouts/slideLayout68.xml"/><Relationship Id="rId45" Type="http://schemas.openxmlformats.org/officeDocument/2006/relationships/slideLayout" Target="../slideLayouts/slideLayout73.xml"/><Relationship Id="rId66" Type="http://schemas.openxmlformats.org/officeDocument/2006/relationships/slideLayout" Target="../slideLayouts/slideLayout94.xml"/><Relationship Id="rId87" Type="http://schemas.openxmlformats.org/officeDocument/2006/relationships/slideLayout" Target="../slideLayouts/slideLayout115.xml"/><Relationship Id="rId61" Type="http://schemas.openxmlformats.org/officeDocument/2006/relationships/slideLayout" Target="../slideLayouts/slideLayout89.xml"/><Relationship Id="rId82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58.xml"/><Relationship Id="rId35" Type="http://schemas.openxmlformats.org/officeDocument/2006/relationships/slideLayout" Target="../slideLayouts/slideLayout63.xml"/><Relationship Id="rId56" Type="http://schemas.openxmlformats.org/officeDocument/2006/relationships/slideLayout" Target="../slideLayouts/slideLayout84.xml"/><Relationship Id="rId77" Type="http://schemas.openxmlformats.org/officeDocument/2006/relationships/slideLayout" Target="../slideLayouts/slideLayout10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image" Target="../media/image25.png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image" Target="../media/image24.emf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4.xml"/><Relationship Id="rId18" Type="http://schemas.openxmlformats.org/officeDocument/2006/relationships/slideLayout" Target="../slideLayouts/slideLayout159.xml"/><Relationship Id="rId26" Type="http://schemas.openxmlformats.org/officeDocument/2006/relationships/slideLayout" Target="../slideLayouts/slideLayout167.xml"/><Relationship Id="rId39" Type="http://schemas.openxmlformats.org/officeDocument/2006/relationships/slideLayout" Target="../slideLayouts/slideLayout180.xml"/><Relationship Id="rId21" Type="http://schemas.openxmlformats.org/officeDocument/2006/relationships/slideLayout" Target="../slideLayouts/slideLayout162.xml"/><Relationship Id="rId34" Type="http://schemas.openxmlformats.org/officeDocument/2006/relationships/slideLayout" Target="../slideLayouts/slideLayout175.xml"/><Relationship Id="rId42" Type="http://schemas.openxmlformats.org/officeDocument/2006/relationships/slideLayout" Target="../slideLayouts/slideLayout183.xml"/><Relationship Id="rId47" Type="http://schemas.openxmlformats.org/officeDocument/2006/relationships/slideLayout" Target="../slideLayouts/slideLayout188.xml"/><Relationship Id="rId50" Type="http://schemas.openxmlformats.org/officeDocument/2006/relationships/theme" Target="../theme/theme4.xml"/><Relationship Id="rId7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43.xml"/><Relationship Id="rId16" Type="http://schemas.openxmlformats.org/officeDocument/2006/relationships/slideLayout" Target="../slideLayouts/slideLayout157.xml"/><Relationship Id="rId29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52.xml"/><Relationship Id="rId24" Type="http://schemas.openxmlformats.org/officeDocument/2006/relationships/slideLayout" Target="../slideLayouts/slideLayout165.xml"/><Relationship Id="rId32" Type="http://schemas.openxmlformats.org/officeDocument/2006/relationships/slideLayout" Target="../slideLayouts/slideLayout173.xml"/><Relationship Id="rId37" Type="http://schemas.openxmlformats.org/officeDocument/2006/relationships/slideLayout" Target="../slideLayouts/slideLayout178.xml"/><Relationship Id="rId40" Type="http://schemas.openxmlformats.org/officeDocument/2006/relationships/slideLayout" Target="../slideLayouts/slideLayout181.xml"/><Relationship Id="rId45" Type="http://schemas.openxmlformats.org/officeDocument/2006/relationships/slideLayout" Target="../slideLayouts/slideLayout186.xml"/><Relationship Id="rId53" Type="http://schemas.openxmlformats.org/officeDocument/2006/relationships/image" Target="../media/image32.emf"/><Relationship Id="rId5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51.xml"/><Relationship Id="rId19" Type="http://schemas.openxmlformats.org/officeDocument/2006/relationships/slideLayout" Target="../slideLayouts/slideLayout160.xml"/><Relationship Id="rId31" Type="http://schemas.openxmlformats.org/officeDocument/2006/relationships/slideLayout" Target="../slideLayouts/slideLayout172.xml"/><Relationship Id="rId44" Type="http://schemas.openxmlformats.org/officeDocument/2006/relationships/slideLayout" Target="../slideLayouts/slideLayout185.xml"/><Relationship Id="rId52" Type="http://schemas.openxmlformats.org/officeDocument/2006/relationships/oleObject" Target="../embeddings/oleObject6.bin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slideLayout" Target="../slideLayouts/slideLayout155.xml"/><Relationship Id="rId22" Type="http://schemas.openxmlformats.org/officeDocument/2006/relationships/slideLayout" Target="../slideLayouts/slideLayout163.xml"/><Relationship Id="rId27" Type="http://schemas.openxmlformats.org/officeDocument/2006/relationships/slideLayout" Target="../slideLayouts/slideLayout168.xml"/><Relationship Id="rId30" Type="http://schemas.openxmlformats.org/officeDocument/2006/relationships/slideLayout" Target="../slideLayouts/slideLayout171.xml"/><Relationship Id="rId35" Type="http://schemas.openxmlformats.org/officeDocument/2006/relationships/slideLayout" Target="../slideLayouts/slideLayout176.xml"/><Relationship Id="rId43" Type="http://schemas.openxmlformats.org/officeDocument/2006/relationships/slideLayout" Target="../slideLayouts/slideLayout184.xml"/><Relationship Id="rId48" Type="http://schemas.openxmlformats.org/officeDocument/2006/relationships/slideLayout" Target="../slideLayouts/slideLayout189.xml"/><Relationship Id="rId8" Type="http://schemas.openxmlformats.org/officeDocument/2006/relationships/slideLayout" Target="../slideLayouts/slideLayout149.xml"/><Relationship Id="rId51" Type="http://schemas.openxmlformats.org/officeDocument/2006/relationships/tags" Target="../tags/tag17.xml"/><Relationship Id="rId3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53.xml"/><Relationship Id="rId17" Type="http://schemas.openxmlformats.org/officeDocument/2006/relationships/slideLayout" Target="../slideLayouts/slideLayout158.xml"/><Relationship Id="rId25" Type="http://schemas.openxmlformats.org/officeDocument/2006/relationships/slideLayout" Target="../slideLayouts/slideLayout166.xml"/><Relationship Id="rId33" Type="http://schemas.openxmlformats.org/officeDocument/2006/relationships/slideLayout" Target="../slideLayouts/slideLayout174.xml"/><Relationship Id="rId38" Type="http://schemas.openxmlformats.org/officeDocument/2006/relationships/slideLayout" Target="../slideLayouts/slideLayout179.xml"/><Relationship Id="rId46" Type="http://schemas.openxmlformats.org/officeDocument/2006/relationships/slideLayout" Target="../slideLayouts/slideLayout187.xml"/><Relationship Id="rId20" Type="http://schemas.openxmlformats.org/officeDocument/2006/relationships/slideLayout" Target="../slideLayouts/slideLayout161.xml"/><Relationship Id="rId41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6.xml"/><Relationship Id="rId23" Type="http://schemas.openxmlformats.org/officeDocument/2006/relationships/slideLayout" Target="../slideLayouts/slideLayout164.xml"/><Relationship Id="rId28" Type="http://schemas.openxmlformats.org/officeDocument/2006/relationships/slideLayout" Target="../slideLayouts/slideLayout169.xml"/><Relationship Id="rId36" Type="http://schemas.openxmlformats.org/officeDocument/2006/relationships/slideLayout" Target="../slideLayouts/slideLayout177.xml"/><Relationship Id="rId49" Type="http://schemas.openxmlformats.org/officeDocument/2006/relationships/slideLayout" Target="../slideLayouts/slideLayout19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3.xml"/><Relationship Id="rId18" Type="http://schemas.openxmlformats.org/officeDocument/2006/relationships/slideLayout" Target="../slideLayouts/slideLayout208.xml"/><Relationship Id="rId26" Type="http://schemas.openxmlformats.org/officeDocument/2006/relationships/slideLayout" Target="../slideLayouts/slideLayout216.xml"/><Relationship Id="rId39" Type="http://schemas.openxmlformats.org/officeDocument/2006/relationships/slideLayout" Target="../slideLayouts/slideLayout229.xml"/><Relationship Id="rId21" Type="http://schemas.openxmlformats.org/officeDocument/2006/relationships/slideLayout" Target="../slideLayouts/slideLayout211.xml"/><Relationship Id="rId34" Type="http://schemas.openxmlformats.org/officeDocument/2006/relationships/slideLayout" Target="../slideLayouts/slideLayout224.xml"/><Relationship Id="rId42" Type="http://schemas.openxmlformats.org/officeDocument/2006/relationships/slideLayout" Target="../slideLayouts/slideLayout232.xml"/><Relationship Id="rId47" Type="http://schemas.openxmlformats.org/officeDocument/2006/relationships/slideLayout" Target="../slideLayouts/slideLayout237.xml"/><Relationship Id="rId50" Type="http://schemas.openxmlformats.org/officeDocument/2006/relationships/theme" Target="../theme/theme5.xml"/><Relationship Id="rId7" Type="http://schemas.openxmlformats.org/officeDocument/2006/relationships/slideLayout" Target="../slideLayouts/slideLayout197.xml"/><Relationship Id="rId2" Type="http://schemas.openxmlformats.org/officeDocument/2006/relationships/slideLayout" Target="../slideLayouts/slideLayout192.xml"/><Relationship Id="rId16" Type="http://schemas.openxmlformats.org/officeDocument/2006/relationships/slideLayout" Target="../slideLayouts/slideLayout206.xml"/><Relationship Id="rId29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01.xml"/><Relationship Id="rId24" Type="http://schemas.openxmlformats.org/officeDocument/2006/relationships/slideLayout" Target="../slideLayouts/slideLayout214.xml"/><Relationship Id="rId32" Type="http://schemas.openxmlformats.org/officeDocument/2006/relationships/slideLayout" Target="../slideLayouts/slideLayout222.xml"/><Relationship Id="rId37" Type="http://schemas.openxmlformats.org/officeDocument/2006/relationships/slideLayout" Target="../slideLayouts/slideLayout227.xml"/><Relationship Id="rId40" Type="http://schemas.openxmlformats.org/officeDocument/2006/relationships/slideLayout" Target="../slideLayouts/slideLayout230.xml"/><Relationship Id="rId45" Type="http://schemas.openxmlformats.org/officeDocument/2006/relationships/slideLayout" Target="../slideLayouts/slideLayout235.xml"/><Relationship Id="rId53" Type="http://schemas.openxmlformats.org/officeDocument/2006/relationships/image" Target="../media/image11.emf"/><Relationship Id="rId5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200.xml"/><Relationship Id="rId19" Type="http://schemas.openxmlformats.org/officeDocument/2006/relationships/slideLayout" Target="../slideLayouts/slideLayout209.xml"/><Relationship Id="rId31" Type="http://schemas.openxmlformats.org/officeDocument/2006/relationships/slideLayout" Target="../slideLayouts/slideLayout221.xml"/><Relationship Id="rId44" Type="http://schemas.openxmlformats.org/officeDocument/2006/relationships/slideLayout" Target="../slideLayouts/slideLayout234.xml"/><Relationship Id="rId52" Type="http://schemas.openxmlformats.org/officeDocument/2006/relationships/oleObject" Target="../embeddings/oleObject7.bin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212.xml"/><Relationship Id="rId27" Type="http://schemas.openxmlformats.org/officeDocument/2006/relationships/slideLayout" Target="../slideLayouts/slideLayout217.xml"/><Relationship Id="rId30" Type="http://schemas.openxmlformats.org/officeDocument/2006/relationships/slideLayout" Target="../slideLayouts/slideLayout220.xml"/><Relationship Id="rId35" Type="http://schemas.openxmlformats.org/officeDocument/2006/relationships/slideLayout" Target="../slideLayouts/slideLayout225.xml"/><Relationship Id="rId43" Type="http://schemas.openxmlformats.org/officeDocument/2006/relationships/slideLayout" Target="../slideLayouts/slideLayout233.xml"/><Relationship Id="rId48" Type="http://schemas.openxmlformats.org/officeDocument/2006/relationships/slideLayout" Target="../slideLayouts/slideLayout238.xml"/><Relationship Id="rId8" Type="http://schemas.openxmlformats.org/officeDocument/2006/relationships/slideLayout" Target="../slideLayouts/slideLayout198.xml"/><Relationship Id="rId51" Type="http://schemas.openxmlformats.org/officeDocument/2006/relationships/tags" Target="../tags/tag18.xml"/><Relationship Id="rId3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202.xml"/><Relationship Id="rId17" Type="http://schemas.openxmlformats.org/officeDocument/2006/relationships/slideLayout" Target="../slideLayouts/slideLayout207.xml"/><Relationship Id="rId25" Type="http://schemas.openxmlformats.org/officeDocument/2006/relationships/slideLayout" Target="../slideLayouts/slideLayout215.xml"/><Relationship Id="rId33" Type="http://schemas.openxmlformats.org/officeDocument/2006/relationships/slideLayout" Target="../slideLayouts/slideLayout223.xml"/><Relationship Id="rId38" Type="http://schemas.openxmlformats.org/officeDocument/2006/relationships/slideLayout" Target="../slideLayouts/slideLayout228.xml"/><Relationship Id="rId46" Type="http://schemas.openxmlformats.org/officeDocument/2006/relationships/slideLayout" Target="../slideLayouts/slideLayout236.xml"/><Relationship Id="rId20" Type="http://schemas.openxmlformats.org/officeDocument/2006/relationships/slideLayout" Target="../slideLayouts/slideLayout210.xml"/><Relationship Id="rId41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5" Type="http://schemas.openxmlformats.org/officeDocument/2006/relationships/slideLayout" Target="../slideLayouts/slideLayout205.xml"/><Relationship Id="rId23" Type="http://schemas.openxmlformats.org/officeDocument/2006/relationships/slideLayout" Target="../slideLayouts/slideLayout213.xml"/><Relationship Id="rId28" Type="http://schemas.openxmlformats.org/officeDocument/2006/relationships/slideLayout" Target="../slideLayouts/slideLayout218.xml"/><Relationship Id="rId36" Type="http://schemas.openxmlformats.org/officeDocument/2006/relationships/slideLayout" Target="../slideLayouts/slideLayout226.xml"/><Relationship Id="rId49" Type="http://schemas.openxmlformats.org/officeDocument/2006/relationships/slideLayout" Target="../slideLayouts/slideLayout2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A1574B2-E1D4-FD00-EB77-631C2B1F5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222466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15" imgH="416" progId="TCLayout.ActiveDocument.1">
                  <p:embed/>
                </p:oleObj>
              </mc:Choice>
              <mc:Fallback>
                <p:oleObj name="think-cell Slide" r:id="rId31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A1574B2-E1D4-FD00-EB77-631C2B1F51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Gavi Presentation Temp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502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12" r:id="rId4"/>
    <p:sldLayoutId id="2147483735" r:id="rId5"/>
    <p:sldLayoutId id="2147483700" r:id="rId6"/>
    <p:sldLayoutId id="2147483698" r:id="rId7"/>
    <p:sldLayoutId id="2147483701" r:id="rId8"/>
    <p:sldLayoutId id="2147483736" r:id="rId9"/>
    <p:sldLayoutId id="2147483737" r:id="rId10"/>
    <p:sldLayoutId id="2147483738" r:id="rId11"/>
    <p:sldLayoutId id="2147483709" r:id="rId12"/>
    <p:sldLayoutId id="2147483710" r:id="rId13"/>
    <p:sldLayoutId id="2147483711" r:id="rId14"/>
    <p:sldLayoutId id="2147483739" r:id="rId15"/>
    <p:sldLayoutId id="2147483740" r:id="rId16"/>
    <p:sldLayoutId id="2147483741" r:id="rId17"/>
    <p:sldLayoutId id="2147483714" r:id="rId18"/>
    <p:sldLayoutId id="2147483713" r:id="rId19"/>
    <p:sldLayoutId id="2147485039" r:id="rId20"/>
    <p:sldLayoutId id="2147485089" r:id="rId21"/>
    <p:sldLayoutId id="2147485091" r:id="rId22"/>
    <p:sldLayoutId id="2147485094" r:id="rId23"/>
    <p:sldLayoutId id="2147485229" r:id="rId24"/>
    <p:sldLayoutId id="2147485230" r:id="rId25"/>
    <p:sldLayoutId id="2147485231" r:id="rId26"/>
    <p:sldLayoutId id="2147485232" r:id="rId27"/>
    <p:sldLayoutId id="2147485233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8F220B0-8037-5B73-A2E3-A90EC600E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4"/>
            </p:custDataLst>
            <p:extLst>
              <p:ext uri="{D42A27DB-BD31-4B8C-83A1-F6EECF244321}">
                <p14:modId xmlns:p14="http://schemas.microsoft.com/office/powerpoint/2010/main" val="320146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5" imgW="395" imgH="394" progId="TCLayout.ActiveDocument.1">
                  <p:embed/>
                </p:oleObj>
              </mc:Choice>
              <mc:Fallback>
                <p:oleObj name="think-cell Slide" r:id="rId9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8F220B0-8037-5B73-A2E3-A90EC600E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VIS Steering Committee - April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05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716" r:id="rId2"/>
    <p:sldLayoutId id="2147484717" r:id="rId3"/>
    <p:sldLayoutId id="2147484718" r:id="rId4"/>
    <p:sldLayoutId id="2147484719" r:id="rId5"/>
    <p:sldLayoutId id="2147484720" r:id="rId6"/>
    <p:sldLayoutId id="2147484721" r:id="rId7"/>
    <p:sldLayoutId id="2147484722" r:id="rId8"/>
    <p:sldLayoutId id="2147484723" r:id="rId9"/>
    <p:sldLayoutId id="2147484724" r:id="rId10"/>
    <p:sldLayoutId id="2147484725" r:id="rId11"/>
    <p:sldLayoutId id="2147484726" r:id="rId12"/>
    <p:sldLayoutId id="2147484727" r:id="rId13"/>
    <p:sldLayoutId id="2147485023" r:id="rId14"/>
    <p:sldLayoutId id="2147484728" r:id="rId15"/>
    <p:sldLayoutId id="2147484729" r:id="rId16"/>
    <p:sldLayoutId id="2147484730" r:id="rId17"/>
    <p:sldLayoutId id="2147484731" r:id="rId18"/>
    <p:sldLayoutId id="2147484732" r:id="rId19"/>
    <p:sldLayoutId id="2147484733" r:id="rId20"/>
    <p:sldLayoutId id="2147484734" r:id="rId21"/>
    <p:sldLayoutId id="2147484735" r:id="rId22"/>
    <p:sldLayoutId id="2147484736" r:id="rId23"/>
    <p:sldLayoutId id="2147484737" r:id="rId24"/>
    <p:sldLayoutId id="2147484738" r:id="rId25"/>
    <p:sldLayoutId id="2147484739" r:id="rId26"/>
    <p:sldLayoutId id="2147484740" r:id="rId27"/>
    <p:sldLayoutId id="2147484741" r:id="rId28"/>
    <p:sldLayoutId id="2147484742" r:id="rId29"/>
    <p:sldLayoutId id="2147484743" r:id="rId30"/>
    <p:sldLayoutId id="2147484744" r:id="rId31"/>
    <p:sldLayoutId id="2147484745" r:id="rId32"/>
    <p:sldLayoutId id="2147484746" r:id="rId33"/>
    <p:sldLayoutId id="2147484747" r:id="rId34"/>
    <p:sldLayoutId id="2147485007" r:id="rId35"/>
    <p:sldLayoutId id="2147484749" r:id="rId36"/>
    <p:sldLayoutId id="2147484750" r:id="rId37"/>
    <p:sldLayoutId id="2147484751" r:id="rId38"/>
    <p:sldLayoutId id="2147484752" r:id="rId39"/>
    <p:sldLayoutId id="2147484753" r:id="rId40"/>
    <p:sldLayoutId id="2147484754" r:id="rId41"/>
    <p:sldLayoutId id="2147484755" r:id="rId42"/>
    <p:sldLayoutId id="2147484756" r:id="rId43"/>
    <p:sldLayoutId id="2147485009" r:id="rId44"/>
    <p:sldLayoutId id="2147484757" r:id="rId45"/>
    <p:sldLayoutId id="2147484758" r:id="rId46"/>
    <p:sldLayoutId id="2147484759" r:id="rId47"/>
    <p:sldLayoutId id="2147484760" r:id="rId48"/>
    <p:sldLayoutId id="2147484761" r:id="rId49"/>
    <p:sldLayoutId id="2147484762" r:id="rId50"/>
    <p:sldLayoutId id="2147484763" r:id="rId51"/>
    <p:sldLayoutId id="2147484764" r:id="rId52"/>
    <p:sldLayoutId id="2147484765" r:id="rId53"/>
    <p:sldLayoutId id="2147484766" r:id="rId54"/>
    <p:sldLayoutId id="2147484767" r:id="rId55"/>
    <p:sldLayoutId id="2147484768" r:id="rId56"/>
    <p:sldLayoutId id="2147484769" r:id="rId57"/>
    <p:sldLayoutId id="2147484770" r:id="rId58"/>
    <p:sldLayoutId id="2147484771" r:id="rId59"/>
    <p:sldLayoutId id="2147484772" r:id="rId60"/>
    <p:sldLayoutId id="2147484773" r:id="rId61"/>
    <p:sldLayoutId id="2147484774" r:id="rId62"/>
    <p:sldLayoutId id="2147484775" r:id="rId63"/>
    <p:sldLayoutId id="2147484776" r:id="rId64"/>
    <p:sldLayoutId id="2147484777" r:id="rId65"/>
    <p:sldLayoutId id="2147484778" r:id="rId66"/>
    <p:sldLayoutId id="2147484779" r:id="rId67"/>
    <p:sldLayoutId id="2147484780" r:id="rId68"/>
    <p:sldLayoutId id="2147484781" r:id="rId69"/>
    <p:sldLayoutId id="2147484782" r:id="rId70"/>
    <p:sldLayoutId id="2147484783" r:id="rId71"/>
    <p:sldLayoutId id="2147484784" r:id="rId72"/>
    <p:sldLayoutId id="2147484785" r:id="rId73"/>
    <p:sldLayoutId id="2147484786" r:id="rId74"/>
    <p:sldLayoutId id="2147484787" r:id="rId75"/>
    <p:sldLayoutId id="2147484788" r:id="rId76"/>
    <p:sldLayoutId id="2147484789" r:id="rId77"/>
    <p:sldLayoutId id="2147484790" r:id="rId78"/>
    <p:sldLayoutId id="2147484791" r:id="rId79"/>
    <p:sldLayoutId id="2147484792" r:id="rId80"/>
    <p:sldLayoutId id="2147484793" r:id="rId81"/>
    <p:sldLayoutId id="2147484794" r:id="rId82"/>
    <p:sldLayoutId id="2147484795" r:id="rId83"/>
    <p:sldLayoutId id="2147484796" r:id="rId84"/>
    <p:sldLayoutId id="2147484797" r:id="rId85"/>
    <p:sldLayoutId id="2147484798" r:id="rId86"/>
    <p:sldLayoutId id="2147484799" r:id="rId87"/>
    <p:sldLayoutId id="2147484800" r:id="rId88"/>
    <p:sldLayoutId id="2147485010" r:id="rId89"/>
    <p:sldLayoutId id="2147484857" r:id="rId90"/>
    <p:sldLayoutId id="2147484801" r:id="rId91"/>
    <p:sldLayoutId id="2147485127" r:id="rId9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4C5A75-8C14-46AD-AA9C-27FBE460C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4424159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81" imgH="381" progId="TCLayout.ActiveDocument.1">
                  <p:embed/>
                </p:oleObj>
              </mc:Choice>
              <mc:Fallback>
                <p:oleObj name="think-cell Slide" r:id="rId24" imgW="381" imgH="38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4C5A75-8C14-46AD-AA9C-27FBE460C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 bwMode="gray">
          <a:xfrm>
            <a:off x="1246718" y="1100645"/>
            <a:ext cx="2111557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  <p:pic>
        <p:nvPicPr>
          <p:cNvPr id="13" name="Image 12" descr="Logo_suite_50x30.png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792000" y="5779828"/>
            <a:ext cx="2400000" cy="1078173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1246717" y="2"/>
            <a:ext cx="9793816" cy="10366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1246717" y="1304926"/>
            <a:ext cx="9793816" cy="47164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-1" y="6498000"/>
            <a:ext cx="1246719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Date</a:t>
            </a:r>
            <a:endParaRPr lang="en-GB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3216000" y="6498000"/>
            <a:ext cx="5760000" cy="360000"/>
          </a:xfrm>
          <a:prstGeom prst="rect">
            <a:avLst/>
          </a:prstGeom>
        </p:spPr>
        <p:txBody>
          <a:bodyPr vert="horz" lIns="0" tIns="7200" rIns="0" bIns="0" rtlCol="0" anchor="t" anchorCtr="0">
            <a:noAutofit/>
          </a:bodyPr>
          <a:lstStyle>
            <a:lvl1pPr algn="ctr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46717" y="6498000"/>
            <a:ext cx="1200149" cy="360000"/>
          </a:xfrm>
          <a:prstGeom prst="rect">
            <a:avLst/>
          </a:prstGeom>
        </p:spPr>
        <p:txBody>
          <a:bodyPr vert="horz" lIns="0" tIns="21600" rIns="0" bIns="0" rtlCol="0" anchor="t" anchorCtr="0">
            <a:noAutofit/>
          </a:bodyPr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 bwMode="gray">
          <a:xfrm>
            <a:off x="10080443" y="6021388"/>
            <a:ext cx="2111557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/>
          </a:p>
        </p:txBody>
      </p:sp>
    </p:spTree>
    <p:extLst>
      <p:ext uri="{BB962C8B-B14F-4D97-AF65-F5344CB8AC3E}">
        <p14:creationId xmlns:p14="http://schemas.microsoft.com/office/powerpoint/2010/main" val="87011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  <p:sldLayoutId id="2147485045" r:id="rId5"/>
    <p:sldLayoutId id="2147485046" r:id="rId6"/>
    <p:sldLayoutId id="2147485047" r:id="rId7"/>
    <p:sldLayoutId id="2147485048" r:id="rId8"/>
    <p:sldLayoutId id="2147485049" r:id="rId9"/>
    <p:sldLayoutId id="2147485050" r:id="rId10"/>
    <p:sldLayoutId id="2147485051" r:id="rId11"/>
    <p:sldLayoutId id="2147485052" r:id="rId12"/>
    <p:sldLayoutId id="2147485053" r:id="rId13"/>
    <p:sldLayoutId id="2147485054" r:id="rId14"/>
    <p:sldLayoutId id="2147485055" r:id="rId15"/>
    <p:sldLayoutId id="2147485056" r:id="rId16"/>
    <p:sldLayoutId id="2147485057" r:id="rId17"/>
    <p:sldLayoutId id="2147485058" r:id="rId18"/>
    <p:sldLayoutId id="2147485060" r:id="rId19"/>
    <p:sldLayoutId id="2147485061" r:id="rId20"/>
    <p:sldLayoutId id="2147485062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24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accent3"/>
        </a:buClr>
        <a:buFont typeface="Arial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180000" algn="l" defTabSz="914400" rtl="0" eaLnBrk="1" latinLnBrk="0" hangingPunct="1">
        <a:lnSpc>
          <a:spcPct val="100000"/>
        </a:lnSpc>
        <a:spcBef>
          <a:spcPts val="300"/>
        </a:spcBef>
        <a:buSzPct val="100000"/>
        <a:buFont typeface="Arial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04000" indent="0" algn="l" defTabSz="914400" rtl="0" eaLnBrk="1" latinLnBrk="0" hangingPunct="1">
        <a:lnSpc>
          <a:spcPct val="100000"/>
        </a:lnSpc>
        <a:spcBef>
          <a:spcPts val="300"/>
        </a:spcBef>
        <a:buSzPct val="100000"/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84000" indent="-180000" algn="l" defTabSz="914400" rtl="0" eaLnBrk="1" latinLnBrk="0" hangingPunct="1">
        <a:lnSpc>
          <a:spcPct val="100000"/>
        </a:lnSpc>
        <a:spcBef>
          <a:spcPts val="300"/>
        </a:spcBef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51A471A-73D8-E667-2AEF-C2A388F033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350801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08" imgH="408" progId="TCLayout.ActiveDocument.1">
                  <p:embed/>
                </p:oleObj>
              </mc:Choice>
              <mc:Fallback>
                <p:oleObj name="think-cell Slide" r:id="rId52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1A471A-73D8-E667-2AEF-C2A388F033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3040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9" r:id="rId1"/>
    <p:sldLayoutId id="2147485130" r:id="rId2"/>
    <p:sldLayoutId id="2147485131" r:id="rId3"/>
    <p:sldLayoutId id="2147485132" r:id="rId4"/>
    <p:sldLayoutId id="2147485133" r:id="rId5"/>
    <p:sldLayoutId id="2147485134" r:id="rId6"/>
    <p:sldLayoutId id="2147485135" r:id="rId7"/>
    <p:sldLayoutId id="2147485136" r:id="rId8"/>
    <p:sldLayoutId id="2147485137" r:id="rId9"/>
    <p:sldLayoutId id="2147485138" r:id="rId10"/>
    <p:sldLayoutId id="2147485139" r:id="rId11"/>
    <p:sldLayoutId id="2147485140" r:id="rId12"/>
    <p:sldLayoutId id="2147485141" r:id="rId13"/>
    <p:sldLayoutId id="2147485142" r:id="rId14"/>
    <p:sldLayoutId id="2147485143" r:id="rId15"/>
    <p:sldLayoutId id="2147485144" r:id="rId16"/>
    <p:sldLayoutId id="2147485145" r:id="rId17"/>
    <p:sldLayoutId id="2147485146" r:id="rId18"/>
    <p:sldLayoutId id="2147485147" r:id="rId19"/>
    <p:sldLayoutId id="2147485148" r:id="rId20"/>
    <p:sldLayoutId id="2147485149" r:id="rId21"/>
    <p:sldLayoutId id="2147485150" r:id="rId22"/>
    <p:sldLayoutId id="2147485151" r:id="rId23"/>
    <p:sldLayoutId id="2147485152" r:id="rId24"/>
    <p:sldLayoutId id="2147485153" r:id="rId25"/>
    <p:sldLayoutId id="2147485154" r:id="rId26"/>
    <p:sldLayoutId id="2147485155" r:id="rId27"/>
    <p:sldLayoutId id="2147485156" r:id="rId28"/>
    <p:sldLayoutId id="2147485157" r:id="rId29"/>
    <p:sldLayoutId id="2147485158" r:id="rId30"/>
    <p:sldLayoutId id="2147485159" r:id="rId31"/>
    <p:sldLayoutId id="2147485160" r:id="rId32"/>
    <p:sldLayoutId id="2147485161" r:id="rId33"/>
    <p:sldLayoutId id="2147485162" r:id="rId34"/>
    <p:sldLayoutId id="2147485163" r:id="rId35"/>
    <p:sldLayoutId id="2147485164" r:id="rId36"/>
    <p:sldLayoutId id="2147485165" r:id="rId37"/>
    <p:sldLayoutId id="2147485166" r:id="rId38"/>
    <p:sldLayoutId id="2147485167" r:id="rId39"/>
    <p:sldLayoutId id="2147485168" r:id="rId40"/>
    <p:sldLayoutId id="2147485169" r:id="rId41"/>
    <p:sldLayoutId id="2147485170" r:id="rId42"/>
    <p:sldLayoutId id="2147485171" r:id="rId43"/>
    <p:sldLayoutId id="2147485172" r:id="rId44"/>
    <p:sldLayoutId id="2147485173" r:id="rId45"/>
    <p:sldLayoutId id="2147485174" r:id="rId46"/>
    <p:sldLayoutId id="2147485175" r:id="rId47"/>
    <p:sldLayoutId id="2147485176" r:id="rId48"/>
    <p:sldLayoutId id="2147485177" r:id="rId4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93F299E-FAF9-F3BE-768B-CE9126820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131977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395" imgH="394" progId="TCLayout.ActiveDocument.1">
                  <p:embed/>
                </p:oleObj>
              </mc:Choice>
              <mc:Fallback>
                <p:oleObj name="think-cell Slide" r:id="rId52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93F299E-FAF9-F3BE-768B-CE9126820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ESA EPI Manager Meeting - 26 June 2024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0142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9" r:id="rId1"/>
    <p:sldLayoutId id="2147485180" r:id="rId2"/>
    <p:sldLayoutId id="2147485181" r:id="rId3"/>
    <p:sldLayoutId id="2147485182" r:id="rId4"/>
    <p:sldLayoutId id="2147485183" r:id="rId5"/>
    <p:sldLayoutId id="2147485184" r:id="rId6"/>
    <p:sldLayoutId id="2147485185" r:id="rId7"/>
    <p:sldLayoutId id="2147485186" r:id="rId8"/>
    <p:sldLayoutId id="2147485187" r:id="rId9"/>
    <p:sldLayoutId id="2147485188" r:id="rId10"/>
    <p:sldLayoutId id="2147485189" r:id="rId11"/>
    <p:sldLayoutId id="2147485190" r:id="rId12"/>
    <p:sldLayoutId id="2147485191" r:id="rId13"/>
    <p:sldLayoutId id="2147485192" r:id="rId14"/>
    <p:sldLayoutId id="2147485193" r:id="rId15"/>
    <p:sldLayoutId id="2147485194" r:id="rId16"/>
    <p:sldLayoutId id="2147485195" r:id="rId17"/>
    <p:sldLayoutId id="2147485196" r:id="rId18"/>
    <p:sldLayoutId id="2147485197" r:id="rId19"/>
    <p:sldLayoutId id="2147485198" r:id="rId20"/>
    <p:sldLayoutId id="2147485199" r:id="rId21"/>
    <p:sldLayoutId id="2147485200" r:id="rId22"/>
    <p:sldLayoutId id="2147485201" r:id="rId23"/>
    <p:sldLayoutId id="2147485202" r:id="rId24"/>
    <p:sldLayoutId id="2147485203" r:id="rId25"/>
    <p:sldLayoutId id="2147485204" r:id="rId26"/>
    <p:sldLayoutId id="2147485205" r:id="rId27"/>
    <p:sldLayoutId id="2147485206" r:id="rId28"/>
    <p:sldLayoutId id="2147485207" r:id="rId29"/>
    <p:sldLayoutId id="2147485208" r:id="rId30"/>
    <p:sldLayoutId id="2147485209" r:id="rId31"/>
    <p:sldLayoutId id="2147485210" r:id="rId32"/>
    <p:sldLayoutId id="2147485211" r:id="rId33"/>
    <p:sldLayoutId id="2147485212" r:id="rId34"/>
    <p:sldLayoutId id="2147485213" r:id="rId35"/>
    <p:sldLayoutId id="2147485214" r:id="rId36"/>
    <p:sldLayoutId id="2147485215" r:id="rId37"/>
    <p:sldLayoutId id="2147485216" r:id="rId38"/>
    <p:sldLayoutId id="2147485217" r:id="rId39"/>
    <p:sldLayoutId id="2147485218" r:id="rId40"/>
    <p:sldLayoutId id="2147485219" r:id="rId41"/>
    <p:sldLayoutId id="2147485220" r:id="rId42"/>
    <p:sldLayoutId id="2147485221" r:id="rId43"/>
    <p:sldLayoutId id="2147485222" r:id="rId44"/>
    <p:sldLayoutId id="2147485223" r:id="rId45"/>
    <p:sldLayoutId id="2147485224" r:id="rId46"/>
    <p:sldLayoutId id="2147485225" r:id="rId47"/>
    <p:sldLayoutId id="2147485226" r:id="rId48"/>
    <p:sldLayoutId id="2147485227" r:id="rId4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9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9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9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0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hyperlink" Target="https://manniondanielsltd-my.sharepoint.com/personal/lizzie_towl_manniondaniels_com/Documents/Desktop/Personal/Childcare%20hours.xlsx?web=1" TargetMode="Externa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5.svg"/><Relationship Id="rId12" Type="http://schemas.openxmlformats.org/officeDocument/2006/relationships/image" Target="../media/image50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1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43.emf"/><Relationship Id="rId10" Type="http://schemas.openxmlformats.org/officeDocument/2006/relationships/image" Target="../media/image48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47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1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23.jpg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2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jpg"/><Relationship Id="rId2" Type="http://schemas.openxmlformats.org/officeDocument/2006/relationships/image" Target="../media/image127.jp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g"/><Relationship Id="rId2" Type="http://schemas.openxmlformats.org/officeDocument/2006/relationships/image" Target="../media/image129.jp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microsoft.com/office/2007/relationships/hdphoto" Target="../media/hdphoto2.wdp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64.xml"/><Relationship Id="rId1" Type="http://schemas.openxmlformats.org/officeDocument/2006/relationships/tags" Target="../tags/tag22.xml"/><Relationship Id="rId6" Type="http://schemas.openxmlformats.org/officeDocument/2006/relationships/image" Target="../media/image131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1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3.xml"/><Relationship Id="rId1" Type="http://schemas.openxmlformats.org/officeDocument/2006/relationships/tags" Target="../tags/tag23.xml"/><Relationship Id="rId6" Type="http://schemas.openxmlformats.org/officeDocument/2006/relationships/image" Target="../media/image132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2.bin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png"/><Relationship Id="rId13" Type="http://schemas.openxmlformats.org/officeDocument/2006/relationships/image" Target="../media/image140.sv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34.svg"/><Relationship Id="rId12" Type="http://schemas.openxmlformats.org/officeDocument/2006/relationships/image" Target="../media/image139.png"/><Relationship Id="rId2" Type="http://schemas.openxmlformats.org/officeDocument/2006/relationships/slideLayout" Target="../slideLayouts/slideLayout142.xml"/><Relationship Id="rId1" Type="http://schemas.openxmlformats.org/officeDocument/2006/relationships/tags" Target="../tags/tag24.xml"/><Relationship Id="rId6" Type="http://schemas.openxmlformats.org/officeDocument/2006/relationships/image" Target="../media/image133.png"/><Relationship Id="rId11" Type="http://schemas.openxmlformats.org/officeDocument/2006/relationships/image" Target="../media/image138.svg"/><Relationship Id="rId5" Type="http://schemas.openxmlformats.org/officeDocument/2006/relationships/image" Target="../media/image1.emf"/><Relationship Id="rId15" Type="http://schemas.openxmlformats.org/officeDocument/2006/relationships/image" Target="../media/image142.svg"/><Relationship Id="rId10" Type="http://schemas.openxmlformats.org/officeDocument/2006/relationships/image" Target="../media/image137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36.svg"/><Relationship Id="rId14" Type="http://schemas.openxmlformats.org/officeDocument/2006/relationships/image" Target="../media/image141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44.png"/><Relationship Id="rId2" Type="http://schemas.openxmlformats.org/officeDocument/2006/relationships/slideLayout" Target="../slideLayouts/slideLayout191.xml"/><Relationship Id="rId1" Type="http://schemas.openxmlformats.org/officeDocument/2006/relationships/tags" Target="../tags/tag25.xml"/><Relationship Id="rId6" Type="http://schemas.openxmlformats.org/officeDocument/2006/relationships/image" Target="../media/image14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46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png"/><Relationship Id="rId13" Type="http://schemas.openxmlformats.org/officeDocument/2006/relationships/image" Target="../media/image153.svg"/><Relationship Id="rId3" Type="http://schemas.openxmlformats.org/officeDocument/2006/relationships/tags" Target="../tags/tag28.xml"/><Relationship Id="rId7" Type="http://schemas.openxmlformats.org/officeDocument/2006/relationships/image" Target="../media/image147.emf"/><Relationship Id="rId12" Type="http://schemas.openxmlformats.org/officeDocument/2006/relationships/image" Target="../media/image15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151.sv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150.png"/><Relationship Id="rId4" Type="http://schemas.openxmlformats.org/officeDocument/2006/relationships/slideLayout" Target="../slideLayouts/slideLayout232.xml"/><Relationship Id="rId9" Type="http://schemas.openxmlformats.org/officeDocument/2006/relationships/image" Target="../media/image149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42.xml"/><Relationship Id="rId1" Type="http://schemas.openxmlformats.org/officeDocument/2006/relationships/tags" Target="../tags/tag29.xml"/><Relationship Id="rId5" Type="http://schemas.openxmlformats.org/officeDocument/2006/relationships/image" Target="../media/image154.emf"/><Relationship Id="rId4" Type="http://schemas.openxmlformats.org/officeDocument/2006/relationships/oleObject" Target="../embeddings/oleObject1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0.xml"/><Relationship Id="rId5" Type="http://schemas.openxmlformats.org/officeDocument/2006/relationships/image" Target="../media/image147.emf"/><Relationship Id="rId4" Type="http://schemas.openxmlformats.org/officeDocument/2006/relationships/oleObject" Target="../embeddings/oleObject17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1.xml"/><Relationship Id="rId5" Type="http://schemas.openxmlformats.org/officeDocument/2006/relationships/image" Target="../media/image147.emf"/><Relationship Id="rId4" Type="http://schemas.openxmlformats.org/officeDocument/2006/relationships/oleObject" Target="../embeddings/oleObject18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2.xml"/><Relationship Id="rId5" Type="http://schemas.openxmlformats.org/officeDocument/2006/relationships/image" Target="../media/image147.emf"/><Relationship Id="rId4" Type="http://schemas.openxmlformats.org/officeDocument/2006/relationships/oleObject" Target="../embeddings/oleObject19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10" Type="http://schemas.openxmlformats.org/officeDocument/2006/relationships/image" Target="../media/image65.svg"/><Relationship Id="rId4" Type="http://schemas.openxmlformats.org/officeDocument/2006/relationships/image" Target="../media/image59.svg"/><Relationship Id="rId9" Type="http://schemas.openxmlformats.org/officeDocument/2006/relationships/image" Target="../media/image6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7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C2E7F1F-5DCD-7B5A-0A59-8852010919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C2E7F1F-5DCD-7B5A-0A59-885201091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7A570DA-DB0A-A647-9A70-CA1643FC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605179"/>
            <a:ext cx="11154344" cy="911410"/>
          </a:xfrm>
        </p:spPr>
        <p:txBody>
          <a:bodyPr vert="horz">
            <a:normAutofit fontScale="90000"/>
          </a:bodyPr>
          <a:lstStyle/>
          <a:p>
            <a:r>
              <a:rPr lang="en-GB" sz="5400" b="0" dirty="0">
                <a:latin typeface="Arial"/>
                <a:cs typeface="Arial"/>
              </a:rPr>
              <a:t>CSCE Webinar and CSO Consultation</a:t>
            </a:r>
            <a:endParaRPr lang="en-GB" sz="4400" b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9C90CDF-B83C-07EE-D590-F24D708604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07 August 202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4BF67B-1FEE-097F-EA86-2CE95E23E10E}"/>
              </a:ext>
            </a:extLst>
          </p:cNvPr>
          <p:cNvSpPr txBox="1"/>
          <p:nvPr/>
        </p:nvSpPr>
        <p:spPr>
          <a:xfrm>
            <a:off x="515937" y="4540133"/>
            <a:ext cx="724339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/>
                <a:cs typeface="Arial"/>
              </a:rPr>
              <a:t>Gavi CSCE 2025 Webinar #1Building Resilient Health Systems: How CSOs are Driving Gavi’s </a:t>
            </a:r>
            <a:r>
              <a:rPr lang="en-US" b="1" dirty="0" err="1">
                <a:solidFill>
                  <a:schemeClr val="bg1"/>
                </a:solidFill>
                <a:latin typeface="Arial"/>
                <a:cs typeface="Arial"/>
              </a:rPr>
              <a:t>Immunisation</a:t>
            </a:r>
            <a:r>
              <a:rPr lang="en-US" b="1" dirty="0">
                <a:solidFill>
                  <a:schemeClr val="bg1"/>
                </a:solidFill>
                <a:latin typeface="Arial"/>
                <a:cs typeface="Arial"/>
              </a:rPr>
              <a:t> Impact</a:t>
            </a:r>
            <a:endParaRPr lang="en-US" dirty="0">
              <a:solidFill>
                <a:schemeClr val="bg1"/>
              </a:solidFill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2995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76834" y="1973833"/>
            <a:ext cx="2554605" cy="4500245"/>
          </a:xfrm>
          <a:custGeom>
            <a:avLst/>
            <a:gdLst/>
            <a:ahLst/>
            <a:cxnLst/>
            <a:rect l="l" t="t" r="r" b="b"/>
            <a:pathLst>
              <a:path w="2554605" h="4500245">
                <a:moveTo>
                  <a:pt x="2554122" y="0"/>
                </a:moveTo>
                <a:lnTo>
                  <a:pt x="0" y="0"/>
                </a:lnTo>
                <a:lnTo>
                  <a:pt x="0" y="4500118"/>
                </a:lnTo>
                <a:lnTo>
                  <a:pt x="2554122" y="4500118"/>
                </a:lnTo>
                <a:lnTo>
                  <a:pt x="2554122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761365">
              <a:lnSpc>
                <a:spcPct val="100000"/>
              </a:lnSpc>
              <a:spcBef>
                <a:spcPts val="100"/>
              </a:spcBef>
            </a:pPr>
            <a:r>
              <a:rPr sz="1600" dirty="0"/>
              <a:t>Assistance</a:t>
            </a:r>
            <a:r>
              <a:rPr sz="1600" spc="-20" dirty="0"/>
              <a:t> </a:t>
            </a:r>
            <a:r>
              <a:rPr sz="1600" dirty="0"/>
              <a:t>au</a:t>
            </a:r>
            <a:r>
              <a:rPr sz="1600" spc="-15" dirty="0"/>
              <a:t> </a:t>
            </a:r>
            <a:r>
              <a:rPr sz="1600" dirty="0"/>
              <a:t>PEV</a:t>
            </a:r>
            <a:r>
              <a:rPr sz="1600" spc="-20" dirty="0"/>
              <a:t> </a:t>
            </a:r>
            <a:r>
              <a:rPr sz="1600" dirty="0"/>
              <a:t>pour</a:t>
            </a:r>
            <a:r>
              <a:rPr sz="1600" spc="-15" dirty="0"/>
              <a:t> </a:t>
            </a:r>
            <a:r>
              <a:rPr sz="1600" dirty="0"/>
              <a:t>étendre</a:t>
            </a:r>
            <a:r>
              <a:rPr sz="1600" spc="-20" dirty="0"/>
              <a:t> </a:t>
            </a:r>
            <a:r>
              <a:rPr sz="1600" dirty="0"/>
              <a:t>la</a:t>
            </a:r>
            <a:r>
              <a:rPr sz="1600" spc="-15" dirty="0"/>
              <a:t> </a:t>
            </a:r>
            <a:r>
              <a:rPr sz="1600" dirty="0"/>
              <a:t>couverture</a:t>
            </a:r>
            <a:r>
              <a:rPr sz="1600" spc="-20" dirty="0"/>
              <a:t> </a:t>
            </a:r>
            <a:r>
              <a:rPr sz="1600" dirty="0"/>
              <a:t>vaccinale</a:t>
            </a:r>
            <a:r>
              <a:rPr sz="1600" spc="-15" dirty="0"/>
              <a:t> </a:t>
            </a:r>
            <a:r>
              <a:rPr sz="1600" dirty="0"/>
              <a:t>aux</a:t>
            </a:r>
            <a:r>
              <a:rPr sz="1600" spc="-20" dirty="0"/>
              <a:t> </a:t>
            </a:r>
            <a:r>
              <a:rPr sz="1600" dirty="0"/>
              <a:t>enfants</a:t>
            </a:r>
            <a:r>
              <a:rPr sz="1600" spc="-15" dirty="0"/>
              <a:t> </a:t>
            </a:r>
            <a:r>
              <a:rPr sz="1600" dirty="0"/>
              <a:t>«zéro</a:t>
            </a:r>
            <a:r>
              <a:rPr sz="1600" spc="-20" dirty="0"/>
              <a:t> </a:t>
            </a:r>
            <a:r>
              <a:rPr sz="1600" dirty="0"/>
              <a:t>dose»</a:t>
            </a:r>
            <a:r>
              <a:rPr sz="1600" spc="-15" dirty="0"/>
              <a:t> </a:t>
            </a:r>
            <a:r>
              <a:rPr sz="1600" dirty="0"/>
              <a:t>et</a:t>
            </a:r>
            <a:r>
              <a:rPr sz="1600" spc="-20" dirty="0"/>
              <a:t> </a:t>
            </a:r>
            <a:r>
              <a:rPr sz="1600" spc="-25" dirty="0"/>
              <a:t>les </a:t>
            </a:r>
            <a:r>
              <a:rPr sz="1600" dirty="0"/>
              <a:t>communautés</a:t>
            </a:r>
            <a:r>
              <a:rPr sz="1600" spc="-40" dirty="0"/>
              <a:t> </a:t>
            </a:r>
            <a:r>
              <a:rPr sz="1600" dirty="0"/>
              <a:t>sous</a:t>
            </a:r>
            <a:r>
              <a:rPr sz="1600" spc="-35" dirty="0"/>
              <a:t> </a:t>
            </a:r>
            <a:r>
              <a:rPr sz="1600" dirty="0"/>
              <a:t>immunisées</a:t>
            </a:r>
            <a:r>
              <a:rPr sz="1600" spc="-35" dirty="0"/>
              <a:t> </a:t>
            </a:r>
            <a:r>
              <a:rPr sz="1600" dirty="0"/>
              <a:t>en</a:t>
            </a:r>
            <a:r>
              <a:rPr sz="1600" spc="-35" dirty="0"/>
              <a:t> </a:t>
            </a:r>
            <a:r>
              <a:rPr sz="1600" dirty="0"/>
              <a:t>Mauritanie,</a:t>
            </a:r>
            <a:r>
              <a:rPr sz="1600" spc="-40" dirty="0"/>
              <a:t> </a:t>
            </a:r>
            <a:r>
              <a:rPr sz="1600" dirty="0"/>
              <a:t>Soutien</a:t>
            </a:r>
            <a:r>
              <a:rPr sz="1600" spc="-35" dirty="0"/>
              <a:t> </a:t>
            </a:r>
            <a:r>
              <a:rPr sz="1600" dirty="0"/>
              <a:t>aux</a:t>
            </a:r>
            <a:r>
              <a:rPr sz="1600" spc="-35" dirty="0"/>
              <a:t> </a:t>
            </a:r>
            <a:r>
              <a:rPr sz="1600" dirty="0"/>
              <a:t>prestations</a:t>
            </a:r>
            <a:r>
              <a:rPr sz="1600" spc="-35" dirty="0"/>
              <a:t> </a:t>
            </a:r>
            <a:r>
              <a:rPr sz="1600" dirty="0"/>
              <a:t>de</a:t>
            </a:r>
            <a:r>
              <a:rPr sz="1600" spc="-40" dirty="0"/>
              <a:t> </a:t>
            </a:r>
            <a:r>
              <a:rPr sz="1600" dirty="0"/>
              <a:t>service</a:t>
            </a:r>
            <a:r>
              <a:rPr sz="1600" spc="-35" dirty="0"/>
              <a:t> </a:t>
            </a:r>
            <a:r>
              <a:rPr sz="1600" dirty="0"/>
              <a:t>de</a:t>
            </a:r>
            <a:r>
              <a:rPr sz="1600" spc="-35" dirty="0"/>
              <a:t> </a:t>
            </a:r>
            <a:r>
              <a:rPr sz="1600" spc="-10" dirty="0"/>
              <a:t>vaccination</a:t>
            </a:r>
            <a:endParaRPr sz="1600"/>
          </a:p>
          <a:p>
            <a:pPr marL="3810" algn="ctr">
              <a:lnSpc>
                <a:spcPct val="100000"/>
              </a:lnSpc>
            </a:pPr>
            <a:r>
              <a:rPr sz="1600" dirty="0"/>
              <a:t>(CDS3,</a:t>
            </a:r>
            <a:r>
              <a:rPr sz="1600" spc="-20" dirty="0"/>
              <a:t> </a:t>
            </a:r>
            <a:r>
              <a:rPr sz="1600" dirty="0"/>
              <a:t>TCA,</a:t>
            </a:r>
            <a:r>
              <a:rPr sz="1600" spc="-20" dirty="0"/>
              <a:t> </a:t>
            </a:r>
            <a:r>
              <a:rPr sz="1600" dirty="0"/>
              <a:t>BCU,</a:t>
            </a:r>
            <a:r>
              <a:rPr sz="1600" spc="-20" dirty="0"/>
              <a:t> HPV)</a:t>
            </a:r>
            <a:endParaRPr sz="1600"/>
          </a:p>
        </p:txBody>
      </p:sp>
      <p:sp>
        <p:nvSpPr>
          <p:cNvPr id="4" name="object 4"/>
          <p:cNvSpPr txBox="1"/>
          <p:nvPr/>
        </p:nvSpPr>
        <p:spPr>
          <a:xfrm>
            <a:off x="476834" y="1464106"/>
            <a:ext cx="2539365" cy="458470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95250" rIns="0" bIns="0" rtlCol="0">
            <a:spAutoFit/>
          </a:bodyPr>
          <a:lstStyle/>
          <a:p>
            <a:pPr marL="206375">
              <a:lnSpc>
                <a:spcPct val="100000"/>
              </a:lnSpc>
              <a:spcBef>
                <a:spcPts val="750"/>
              </a:spcBef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Aperçu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8718" y="3114331"/>
            <a:ext cx="35115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5" dirty="0">
                <a:latin typeface="Arial"/>
                <a:cs typeface="Arial"/>
              </a:rPr>
              <a:t>RIM</a:t>
            </a:r>
            <a:endParaRPr sz="140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159442" y="1997049"/>
            <a:ext cx="8305165" cy="4477385"/>
          </a:xfrm>
          <a:custGeom>
            <a:avLst/>
            <a:gdLst/>
            <a:ahLst/>
            <a:cxnLst/>
            <a:rect l="l" t="t" r="r" b="b"/>
            <a:pathLst>
              <a:path w="8305165" h="4477385">
                <a:moveTo>
                  <a:pt x="0" y="4476902"/>
                </a:moveTo>
                <a:lnTo>
                  <a:pt x="8304987" y="4476902"/>
                </a:lnTo>
                <a:lnTo>
                  <a:pt x="8304987" y="0"/>
                </a:lnTo>
                <a:lnTo>
                  <a:pt x="0" y="0"/>
                </a:lnTo>
                <a:lnTo>
                  <a:pt x="0" y="4476902"/>
                </a:lnTo>
                <a:close/>
              </a:path>
            </a:pathLst>
          </a:custGeom>
          <a:solidFill>
            <a:srgbClr val="F0F9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159442" y="1502003"/>
            <a:ext cx="8305165" cy="495300"/>
          </a:xfrm>
          <a:prstGeom prst="rect">
            <a:avLst/>
          </a:prstGeom>
          <a:solidFill>
            <a:srgbClr val="0070BF"/>
          </a:solidFill>
        </p:spPr>
        <p:txBody>
          <a:bodyPr vert="horz" wrap="square" lIns="0" tIns="135255" rIns="0" bIns="0" rtlCol="0">
            <a:spAutoFit/>
          </a:bodyPr>
          <a:lstStyle/>
          <a:p>
            <a:pPr marL="1986280">
              <a:lnSpc>
                <a:spcPct val="100000"/>
              </a:lnSpc>
              <a:spcBef>
                <a:spcPts val="10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Description</a:t>
            </a:r>
            <a:r>
              <a:rPr sz="14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du</a:t>
            </a:r>
            <a:r>
              <a:rPr sz="14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projet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71122" y="4973866"/>
            <a:ext cx="141922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latin typeface="Arial"/>
                <a:cs typeface="Arial"/>
              </a:rPr>
              <a:t>$902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125</a:t>
            </a:r>
            <a:r>
              <a:rPr sz="1400" b="1" spc="-10" dirty="0">
                <a:latin typeface="Arial"/>
                <a:cs typeface="Arial"/>
              </a:rPr>
              <a:t> Dollars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3384550" y="2230082"/>
            <a:ext cx="7906384" cy="3796665"/>
            <a:chOff x="3384550" y="2230082"/>
            <a:chExt cx="7906384" cy="3796665"/>
          </a:xfrm>
        </p:grpSpPr>
        <p:sp>
          <p:nvSpPr>
            <p:cNvPr id="10" name="object 10"/>
            <p:cNvSpPr/>
            <p:nvPr/>
          </p:nvSpPr>
          <p:spPr>
            <a:xfrm>
              <a:off x="3390899" y="2236431"/>
              <a:ext cx="1664335" cy="3783965"/>
            </a:xfrm>
            <a:custGeom>
              <a:avLst/>
              <a:gdLst/>
              <a:ahLst/>
              <a:cxnLst/>
              <a:rect l="l" t="t" r="r" b="b"/>
              <a:pathLst>
                <a:path w="1664335" h="3783965">
                  <a:moveTo>
                    <a:pt x="0" y="0"/>
                  </a:moveTo>
                  <a:lnTo>
                    <a:pt x="1663712" y="0"/>
                  </a:lnTo>
                  <a:lnTo>
                    <a:pt x="1663712" y="3783406"/>
                  </a:lnTo>
                  <a:lnTo>
                    <a:pt x="0" y="3783406"/>
                  </a:lnTo>
                  <a:lnTo>
                    <a:pt x="0" y="0"/>
                  </a:lnTo>
                  <a:close/>
                </a:path>
              </a:pathLst>
            </a:custGeom>
            <a:ln w="12699">
              <a:solidFill>
                <a:srgbClr val="F2F2F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074373" y="3605961"/>
              <a:ext cx="6216650" cy="1497965"/>
            </a:xfrm>
            <a:custGeom>
              <a:avLst/>
              <a:gdLst/>
              <a:ahLst/>
              <a:cxnLst/>
              <a:rect l="l" t="t" r="r" b="b"/>
              <a:pathLst>
                <a:path w="6216650" h="1497964">
                  <a:moveTo>
                    <a:pt x="6216357" y="0"/>
                  </a:moveTo>
                  <a:lnTo>
                    <a:pt x="0" y="0"/>
                  </a:lnTo>
                  <a:lnTo>
                    <a:pt x="0" y="1497888"/>
                  </a:lnTo>
                  <a:lnTo>
                    <a:pt x="6216357" y="1497888"/>
                  </a:lnTo>
                  <a:lnTo>
                    <a:pt x="621635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5153113" y="3635222"/>
            <a:ext cx="73660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Context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153113" y="3848582"/>
            <a:ext cx="6041390" cy="1305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7815" indent="-285115">
              <a:lnSpc>
                <a:spcPct val="100000"/>
              </a:lnSpc>
              <a:spcBef>
                <a:spcPts val="100"/>
              </a:spcBef>
              <a:buSzPct val="78571"/>
              <a:buChar char="•"/>
              <a:tabLst>
                <a:tab pos="297815" algn="l"/>
              </a:tabLst>
            </a:pPr>
            <a:r>
              <a:rPr sz="1400" dirty="0">
                <a:latin typeface="Arial"/>
                <a:cs typeface="Arial"/>
              </a:rPr>
              <a:t>Récurrenc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épidémie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MVE</a:t>
            </a:r>
            <a:endParaRPr sz="1400">
              <a:latin typeface="Arial"/>
              <a:cs typeface="Arial"/>
            </a:endParaRPr>
          </a:p>
          <a:p>
            <a:pPr marL="297815" indent="-285115">
              <a:lnSpc>
                <a:spcPct val="100000"/>
              </a:lnSpc>
              <a:buSzPct val="78571"/>
              <a:buChar char="•"/>
              <a:tabLst>
                <a:tab pos="297815" algn="l"/>
              </a:tabLst>
            </a:pPr>
            <a:r>
              <a:rPr sz="1400" dirty="0">
                <a:latin typeface="Arial"/>
                <a:cs typeface="Arial"/>
              </a:rPr>
              <a:t>Un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ffr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vaccinal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insuffisante</a:t>
            </a:r>
            <a:endParaRPr sz="1400">
              <a:latin typeface="Arial"/>
              <a:cs typeface="Arial"/>
            </a:endParaRPr>
          </a:p>
          <a:p>
            <a:pPr marL="298450" marR="5715" indent="-285750">
              <a:lnSpc>
                <a:spcPct val="100000"/>
              </a:lnSpc>
              <a:buSzPct val="78571"/>
              <a:buChar char="•"/>
              <a:tabLst>
                <a:tab pos="298450" algn="l"/>
              </a:tabLst>
            </a:pPr>
            <a:r>
              <a:rPr sz="1400" dirty="0">
                <a:latin typeface="Arial"/>
                <a:cs typeface="Arial"/>
              </a:rPr>
              <a:t>Une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ort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ésenc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’enfant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zéro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os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(EZD)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t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munauté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sous- immunisées.</a:t>
            </a:r>
            <a:endParaRPr sz="1400">
              <a:latin typeface="Arial"/>
              <a:cs typeface="Arial"/>
            </a:endParaRPr>
          </a:p>
          <a:p>
            <a:pPr marL="298450" marR="5080" indent="-285750">
              <a:lnSpc>
                <a:spcPct val="100000"/>
              </a:lnSpc>
              <a:buSzPct val="78571"/>
              <a:buChar char="•"/>
              <a:tabLst>
                <a:tab pos="298450" algn="l"/>
              </a:tabLst>
            </a:pPr>
            <a:r>
              <a:rPr sz="1400" dirty="0">
                <a:latin typeface="Arial"/>
                <a:cs typeface="Arial"/>
              </a:rPr>
              <a:t>Afin</a:t>
            </a:r>
            <a:r>
              <a:rPr sz="1400" spc="3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isser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ersonn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ôté,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auritani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lac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’équité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vaccinale </a:t>
            </a:r>
            <a:r>
              <a:rPr sz="1400" dirty="0">
                <a:latin typeface="Arial"/>
                <a:cs typeface="Arial"/>
              </a:rPr>
              <a:t>au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œur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a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tratégi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me</a:t>
            </a:r>
            <a:r>
              <a:rPr sz="1400" spc="36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un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iorité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nationale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252851" y="3106991"/>
            <a:ext cx="1677670" cy="10147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635">
              <a:lnSpc>
                <a:spcPct val="121700"/>
              </a:lnSpc>
              <a:spcBef>
                <a:spcPts val="100"/>
              </a:spcBef>
            </a:pPr>
            <a:r>
              <a:rPr sz="1400" b="1" dirty="0">
                <a:latin typeface="Arial"/>
                <a:cs typeface="Arial"/>
              </a:rPr>
              <a:t>Mesure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d'impact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1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spc="-50" dirty="0">
                <a:latin typeface="Arial"/>
                <a:cs typeface="Arial"/>
              </a:rPr>
              <a:t>: </a:t>
            </a:r>
            <a:r>
              <a:rPr sz="1400" b="1" dirty="0">
                <a:solidFill>
                  <a:srgbClr val="00A0DF"/>
                </a:solidFill>
                <a:latin typeface="Arial"/>
                <a:cs typeface="Arial"/>
              </a:rPr>
              <a:t>Etendre</a:t>
            </a:r>
            <a:r>
              <a:rPr sz="1400" b="1" spc="-25" dirty="0">
                <a:solidFill>
                  <a:srgbClr val="00A0D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0DF"/>
                </a:solidFill>
                <a:latin typeface="Arial"/>
                <a:cs typeface="Arial"/>
              </a:rPr>
              <a:t>la</a:t>
            </a:r>
            <a:r>
              <a:rPr sz="1400" b="1" spc="-20" dirty="0">
                <a:solidFill>
                  <a:srgbClr val="00A0D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0DF"/>
                </a:solidFill>
                <a:latin typeface="Arial"/>
                <a:cs typeface="Arial"/>
              </a:rPr>
              <a:t>CV</a:t>
            </a:r>
            <a:r>
              <a:rPr sz="1400" b="1" spc="-20" dirty="0">
                <a:solidFill>
                  <a:srgbClr val="00A0DF"/>
                </a:solidFill>
                <a:latin typeface="Arial"/>
                <a:cs typeface="Arial"/>
              </a:rPr>
              <a:t> </a:t>
            </a:r>
            <a:r>
              <a:rPr sz="1400" b="1" spc="-50" dirty="0">
                <a:solidFill>
                  <a:srgbClr val="00A0DF"/>
                </a:solidFill>
                <a:latin typeface="Arial"/>
                <a:cs typeface="Arial"/>
              </a:rPr>
              <a:t>à</a:t>
            </a:r>
            <a:endParaRPr sz="1400">
              <a:latin typeface="Arial"/>
              <a:cs typeface="Arial"/>
            </a:endParaRPr>
          </a:p>
          <a:p>
            <a:pPr marL="12700" marR="254000">
              <a:lnSpc>
                <a:spcPct val="110000"/>
              </a:lnSpc>
            </a:pPr>
            <a:r>
              <a:rPr sz="1400" b="1" dirty="0">
                <a:solidFill>
                  <a:srgbClr val="00A0DF"/>
                </a:solidFill>
                <a:latin typeface="Arial"/>
                <a:cs typeface="Arial"/>
              </a:rPr>
              <a:t>80</a:t>
            </a:r>
            <a:r>
              <a:rPr sz="1400" b="1" spc="-15" dirty="0">
                <a:solidFill>
                  <a:srgbClr val="00A0D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0DF"/>
                </a:solidFill>
                <a:latin typeface="Arial"/>
                <a:cs typeface="Arial"/>
              </a:rPr>
              <a:t>%</a:t>
            </a:r>
            <a:r>
              <a:rPr sz="1400" b="1" spc="-10" dirty="0">
                <a:solidFill>
                  <a:srgbClr val="00A0D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0DF"/>
                </a:solidFill>
                <a:latin typeface="Arial"/>
                <a:cs typeface="Arial"/>
              </a:rPr>
              <a:t>d’EZD</a:t>
            </a:r>
            <a:r>
              <a:rPr sz="1400" b="1" spc="-15" dirty="0">
                <a:solidFill>
                  <a:srgbClr val="00A0D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00A0DF"/>
                </a:solidFill>
                <a:latin typeface="Arial"/>
                <a:cs typeface="Arial"/>
              </a:rPr>
              <a:t>et </a:t>
            </a:r>
            <a:r>
              <a:rPr sz="1400" b="1" spc="-10" dirty="0">
                <a:solidFill>
                  <a:srgbClr val="00A0DF"/>
                </a:solidFill>
                <a:latin typeface="Arial"/>
                <a:cs typeface="Arial"/>
              </a:rPr>
              <a:t>sous-immunisé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238182" y="4485868"/>
            <a:ext cx="1692275" cy="5937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4604">
              <a:lnSpc>
                <a:spcPct val="133100"/>
              </a:lnSpc>
              <a:spcBef>
                <a:spcPts val="100"/>
              </a:spcBef>
            </a:pPr>
            <a:r>
              <a:rPr sz="1400" b="1" dirty="0">
                <a:latin typeface="Arial"/>
                <a:cs typeface="Arial"/>
              </a:rPr>
              <a:t>Mesure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d'impact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2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spc="-50" dirty="0">
                <a:latin typeface="Arial"/>
                <a:cs typeface="Arial"/>
              </a:rPr>
              <a:t>: </a:t>
            </a:r>
            <a:r>
              <a:rPr sz="1400" b="1" dirty="0">
                <a:solidFill>
                  <a:srgbClr val="00A0DF"/>
                </a:solidFill>
                <a:latin typeface="Arial"/>
                <a:cs typeface="Arial"/>
              </a:rPr>
              <a:t>CV</a:t>
            </a:r>
            <a:r>
              <a:rPr sz="1400" b="1" spc="-15" dirty="0">
                <a:solidFill>
                  <a:srgbClr val="00A0D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0DF"/>
                </a:solidFill>
                <a:latin typeface="Arial"/>
                <a:cs typeface="Arial"/>
              </a:rPr>
              <a:t>à</a:t>
            </a:r>
            <a:r>
              <a:rPr sz="1400" b="1" spc="-15" dirty="0">
                <a:solidFill>
                  <a:srgbClr val="00A0D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0DF"/>
                </a:solidFill>
                <a:latin typeface="Arial"/>
                <a:cs typeface="Arial"/>
              </a:rPr>
              <a:t>95%</a:t>
            </a:r>
            <a:r>
              <a:rPr sz="1400" b="1" spc="-15" dirty="0">
                <a:solidFill>
                  <a:srgbClr val="00A0D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0DF"/>
                </a:solidFill>
                <a:latin typeface="Arial"/>
                <a:cs typeface="Arial"/>
              </a:rPr>
              <a:t>Penta</a:t>
            </a:r>
            <a:r>
              <a:rPr sz="1400" b="1" spc="-10" dirty="0">
                <a:solidFill>
                  <a:srgbClr val="00A0DF"/>
                </a:solidFill>
                <a:latin typeface="Arial"/>
                <a:cs typeface="Arial"/>
              </a:rPr>
              <a:t> </a:t>
            </a:r>
            <a:r>
              <a:rPr sz="1400" b="1" spc="-50" dirty="0">
                <a:solidFill>
                  <a:srgbClr val="00A0DF"/>
                </a:solidFill>
                <a:latin typeface="Arial"/>
                <a:cs typeface="Arial"/>
              </a:rPr>
              <a:t>3</a:t>
            </a:r>
            <a:endParaRPr sz="14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53514" y="2102027"/>
            <a:ext cx="1505585" cy="360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0000"/>
              </a:lnSpc>
              <a:spcBef>
                <a:spcPts val="100"/>
              </a:spcBef>
            </a:pPr>
            <a:r>
              <a:rPr sz="1000" b="1" dirty="0">
                <a:latin typeface="Arial"/>
                <a:cs typeface="Arial"/>
              </a:rPr>
              <a:t>HEC,</a:t>
            </a:r>
            <a:r>
              <a:rPr sz="1000" b="1" spc="-25" dirty="0">
                <a:latin typeface="Arial"/>
                <a:cs typeface="Arial"/>
              </a:rPr>
              <a:t> </a:t>
            </a:r>
            <a:r>
              <a:rPr sz="1000" b="1" dirty="0">
                <a:latin typeface="Arial"/>
                <a:cs typeface="Arial"/>
              </a:rPr>
              <a:t>Gorgol,</a:t>
            </a:r>
            <a:r>
              <a:rPr sz="1000" b="1" spc="-20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Brakna, </a:t>
            </a:r>
            <a:r>
              <a:rPr sz="1000" b="1" dirty="0">
                <a:latin typeface="Arial"/>
                <a:cs typeface="Arial"/>
              </a:rPr>
              <a:t>Traza,</a:t>
            </a:r>
            <a:r>
              <a:rPr sz="1000" b="1" spc="-25" dirty="0">
                <a:latin typeface="Arial"/>
                <a:cs typeface="Arial"/>
              </a:rPr>
              <a:t> </a:t>
            </a:r>
            <a:r>
              <a:rPr sz="1000" b="1" dirty="0">
                <a:latin typeface="Arial"/>
                <a:cs typeface="Arial"/>
              </a:rPr>
              <a:t>Inchiri</a:t>
            </a:r>
            <a:r>
              <a:rPr sz="1000" b="1" spc="-25" dirty="0">
                <a:latin typeface="Arial"/>
                <a:cs typeface="Arial"/>
              </a:rPr>
              <a:t> </a:t>
            </a:r>
            <a:r>
              <a:rPr sz="1000" b="1" dirty="0">
                <a:latin typeface="Arial"/>
                <a:cs typeface="Arial"/>
              </a:rPr>
              <a:t>&amp;</a:t>
            </a:r>
            <a:r>
              <a:rPr sz="1000" b="1" spc="-20" dirty="0">
                <a:latin typeface="Arial"/>
                <a:cs typeface="Arial"/>
              </a:rPr>
              <a:t> </a:t>
            </a:r>
            <a:r>
              <a:rPr sz="1000" b="1" dirty="0">
                <a:latin typeface="Arial"/>
                <a:cs typeface="Arial"/>
              </a:rPr>
              <a:t>NKT</a:t>
            </a:r>
            <a:r>
              <a:rPr sz="1000" b="1" spc="-25" dirty="0">
                <a:latin typeface="Arial"/>
                <a:cs typeface="Arial"/>
              </a:rPr>
              <a:t> Sud</a:t>
            </a:r>
            <a:endParaRPr sz="10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98718" y="5735040"/>
            <a:ext cx="128143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latin typeface="Arial"/>
                <a:cs typeface="Arial"/>
              </a:rPr>
              <a:t>2023</a:t>
            </a:r>
            <a:r>
              <a:rPr sz="1400" b="1" spc="-1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–</a:t>
            </a:r>
            <a:r>
              <a:rPr sz="1400" b="1" spc="-1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S1</a:t>
            </a:r>
            <a:r>
              <a:rPr sz="1400" b="1" spc="-5" dirty="0">
                <a:latin typeface="Arial"/>
                <a:cs typeface="Arial"/>
              </a:rPr>
              <a:t> </a:t>
            </a:r>
            <a:r>
              <a:rPr sz="1400" b="1" spc="-20" dirty="0">
                <a:latin typeface="Arial"/>
                <a:cs typeface="Arial"/>
              </a:rPr>
              <a:t>2025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2260066" y="3023577"/>
            <a:ext cx="725805" cy="2259330"/>
            <a:chOff x="2260066" y="3023577"/>
            <a:chExt cx="725805" cy="2259330"/>
          </a:xfrm>
        </p:grpSpPr>
        <p:pic>
          <p:nvPicPr>
            <p:cNvPr id="19" name="object 1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379840" y="4774336"/>
              <a:ext cx="507978" cy="507974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260066" y="3023577"/>
              <a:ext cx="725495" cy="482777"/>
            </a:xfrm>
            <a:prstGeom prst="rect">
              <a:avLst/>
            </a:prstGeom>
          </p:spPr>
        </p:pic>
      </p:grpSp>
      <p:pic>
        <p:nvPicPr>
          <p:cNvPr id="21" name="object 2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1270983" y="0"/>
            <a:ext cx="895421" cy="745642"/>
          </a:xfrm>
          <a:prstGeom prst="rect">
            <a:avLst/>
          </a:prstGeom>
        </p:spPr>
      </p:pic>
      <p:sp>
        <p:nvSpPr>
          <p:cNvPr id="22" name="object 22"/>
          <p:cNvSpPr txBox="1"/>
          <p:nvPr/>
        </p:nvSpPr>
        <p:spPr>
          <a:xfrm>
            <a:off x="653514" y="3877995"/>
            <a:ext cx="1677035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0000"/>
              </a:lnSpc>
              <a:spcBef>
                <a:spcPts val="100"/>
              </a:spcBef>
            </a:pPr>
            <a:r>
              <a:rPr sz="1000" b="1" dirty="0">
                <a:latin typeface="Arial"/>
                <a:cs typeface="Arial"/>
              </a:rPr>
              <a:t>Assistance</a:t>
            </a:r>
            <a:r>
              <a:rPr sz="1000" b="1" spc="-45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Technique </a:t>
            </a:r>
            <a:r>
              <a:rPr sz="1000" b="1" dirty="0">
                <a:latin typeface="Arial"/>
                <a:cs typeface="Arial"/>
              </a:rPr>
              <a:t>Appui</a:t>
            </a:r>
            <a:r>
              <a:rPr sz="1000" b="1" spc="-50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systémique </a:t>
            </a:r>
            <a:r>
              <a:rPr sz="1000" b="1" dirty="0">
                <a:latin typeface="Arial"/>
                <a:cs typeface="Arial"/>
              </a:rPr>
              <a:t>Renforcement</a:t>
            </a:r>
            <a:r>
              <a:rPr sz="1000" b="1" spc="-5" dirty="0">
                <a:latin typeface="Arial"/>
                <a:cs typeface="Arial"/>
              </a:rPr>
              <a:t> </a:t>
            </a:r>
            <a:r>
              <a:rPr sz="1000" b="1" dirty="0">
                <a:latin typeface="Arial"/>
                <a:cs typeface="Arial"/>
              </a:rPr>
              <a:t>de </a:t>
            </a:r>
            <a:r>
              <a:rPr sz="1000" b="1" spc="-10" dirty="0">
                <a:latin typeface="Arial"/>
                <a:cs typeface="Arial"/>
              </a:rPr>
              <a:t>capacités Compagnonnage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2236266" y="2077592"/>
            <a:ext cx="786130" cy="4041775"/>
            <a:chOff x="2236266" y="2077592"/>
            <a:chExt cx="786130" cy="4041775"/>
          </a:xfrm>
        </p:grpSpPr>
        <p:pic>
          <p:nvPicPr>
            <p:cNvPr id="24" name="object 2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358758" y="3894353"/>
              <a:ext cx="657034" cy="657034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36266" y="2077592"/>
              <a:ext cx="785868" cy="527735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382240" y="5662917"/>
              <a:ext cx="456256" cy="456260"/>
            </a:xfrm>
            <a:prstGeom prst="rect">
              <a:avLst/>
            </a:prstGeom>
          </p:spPr>
        </p:pic>
      </p:grpSp>
      <p:sp>
        <p:nvSpPr>
          <p:cNvPr id="27" name="object 27"/>
          <p:cNvSpPr txBox="1"/>
          <p:nvPr/>
        </p:nvSpPr>
        <p:spPr>
          <a:xfrm>
            <a:off x="5054612" y="2149068"/>
            <a:ext cx="6178550" cy="1200785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4191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30"/>
              </a:spcBef>
            </a:pP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Objectif</a:t>
            </a:r>
            <a:r>
              <a:rPr sz="1400" spc="-2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Général</a:t>
            </a:r>
            <a:endParaRPr sz="1400">
              <a:latin typeface="Arial"/>
              <a:cs typeface="Arial"/>
            </a:endParaRPr>
          </a:p>
          <a:p>
            <a:pPr marL="91440" marR="14351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Contribuer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à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éduction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orbidité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t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ortalité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iée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ux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EV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et </a:t>
            </a:r>
            <a:r>
              <a:rPr sz="1400" dirty="0">
                <a:latin typeface="Arial"/>
                <a:cs typeface="Arial"/>
              </a:rPr>
              <a:t>incluant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Z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t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V,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n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nforçant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artenariat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ntr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cteur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ocaux </a:t>
            </a:r>
            <a:r>
              <a:rPr sz="1400" dirty="0">
                <a:latin typeface="Arial"/>
                <a:cs typeface="Arial"/>
              </a:rPr>
              <a:t>et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munautaire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fin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’améliorer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mand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insi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qu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ntinuité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des </a:t>
            </a:r>
            <a:r>
              <a:rPr sz="1400" dirty="0">
                <a:latin typeface="Arial"/>
                <a:cs typeface="Arial"/>
              </a:rPr>
              <a:t>services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 </a:t>
            </a:r>
            <a:r>
              <a:rPr sz="1400" spc="-10" dirty="0">
                <a:latin typeface="Arial"/>
                <a:cs typeface="Arial"/>
              </a:rPr>
              <a:t>vaccina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045989" y="5421325"/>
            <a:ext cx="6233795" cy="99695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4191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330"/>
              </a:spcBef>
            </a:pP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Parties</a:t>
            </a:r>
            <a:r>
              <a:rPr sz="1400" spc="-20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005BB8"/>
                </a:solidFill>
                <a:latin typeface="Arial"/>
                <a:cs typeface="Arial"/>
              </a:rPr>
              <a:t>Prenantes</a:t>
            </a:r>
            <a:endParaRPr sz="1400">
              <a:latin typeface="Arial"/>
              <a:cs typeface="Arial"/>
            </a:endParaRPr>
          </a:p>
          <a:p>
            <a:pPr marL="376555" indent="-285750">
              <a:lnSpc>
                <a:spcPct val="100000"/>
              </a:lnSpc>
              <a:buFont typeface="Segoe UI Emoji"/>
              <a:buChar char="✓"/>
              <a:tabLst>
                <a:tab pos="376555" algn="l"/>
              </a:tabLst>
            </a:pPr>
            <a:r>
              <a:rPr sz="1400" dirty="0">
                <a:latin typeface="Arial"/>
                <a:cs typeface="Arial"/>
              </a:rPr>
              <a:t>PEV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entral,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RS,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ervices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écentralisés,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S,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CCM</a:t>
            </a:r>
            <a:endParaRPr sz="1400">
              <a:latin typeface="Arial"/>
              <a:cs typeface="Arial"/>
            </a:endParaRPr>
          </a:p>
          <a:p>
            <a:pPr marL="376555" indent="-285750">
              <a:lnSpc>
                <a:spcPct val="100000"/>
              </a:lnSpc>
              <a:buFont typeface="Segoe UI Emoji"/>
              <a:buChar char="✓"/>
              <a:tabLst>
                <a:tab pos="376555" algn="l"/>
              </a:tabLst>
            </a:pPr>
            <a:r>
              <a:rPr sz="1400" dirty="0">
                <a:latin typeface="Arial"/>
                <a:cs typeface="Arial"/>
              </a:rPr>
              <a:t>Communautés,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aders,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roupements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(OBC,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SC),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élus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ocaux</a:t>
            </a:r>
            <a:endParaRPr sz="1400">
              <a:latin typeface="Arial"/>
              <a:cs typeface="Arial"/>
            </a:endParaRPr>
          </a:p>
          <a:p>
            <a:pPr marL="376555" indent="-285750">
              <a:lnSpc>
                <a:spcPct val="100000"/>
              </a:lnSpc>
              <a:buFont typeface="Segoe UI Emoji"/>
              <a:buChar char="✓"/>
              <a:tabLst>
                <a:tab pos="376555" algn="l"/>
              </a:tabLst>
            </a:pPr>
            <a:r>
              <a:rPr sz="1400" dirty="0">
                <a:latin typeface="Arial"/>
                <a:cs typeface="Arial"/>
              </a:rPr>
              <a:t>Structures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éducatives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29" name="object 29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0"/>
            <a:ext cx="1274284" cy="85471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8601" y="5604967"/>
            <a:ext cx="12452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001F5F"/>
                </a:solidFill>
                <a:latin typeface="Arial"/>
                <a:cs typeface="Arial"/>
              </a:rPr>
              <a:t>Mapping</a:t>
            </a:r>
            <a:r>
              <a:rPr sz="1200" spc="-1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01F5F"/>
                </a:solidFill>
                <a:latin typeface="Arial"/>
                <a:cs typeface="Arial"/>
              </a:rPr>
              <a:t>des</a:t>
            </a:r>
            <a:r>
              <a:rPr sz="1200" spc="-1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200" spc="-25" dirty="0">
                <a:solidFill>
                  <a:srgbClr val="001F5F"/>
                </a:solidFill>
                <a:latin typeface="Arial"/>
                <a:cs typeface="Arial"/>
              </a:rPr>
              <a:t>EZD</a:t>
            </a:r>
            <a:endParaRPr sz="12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653" y="765454"/>
            <a:ext cx="5432425" cy="458470"/>
          </a:xfrm>
          <a:custGeom>
            <a:avLst/>
            <a:gdLst/>
            <a:ahLst/>
            <a:cxnLst/>
            <a:rect l="l" t="t" r="r" b="b"/>
            <a:pathLst>
              <a:path w="5432425" h="458469">
                <a:moveTo>
                  <a:pt x="5432374" y="0"/>
                </a:moveTo>
                <a:lnTo>
                  <a:pt x="0" y="0"/>
                </a:lnTo>
                <a:lnTo>
                  <a:pt x="0" y="457847"/>
                </a:lnTo>
                <a:lnTo>
                  <a:pt x="5432374" y="457847"/>
                </a:lnTo>
                <a:lnTo>
                  <a:pt x="5432374" y="0"/>
                </a:lnTo>
                <a:close/>
              </a:path>
            </a:pathLst>
          </a:custGeom>
          <a:solidFill>
            <a:srgbClr val="7F7F7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651703" y="839680"/>
            <a:ext cx="2145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FFFFF"/>
                </a:solidFill>
              </a:rPr>
              <a:t>Sites</a:t>
            </a:r>
            <a:r>
              <a:rPr sz="1800" spc="-10" dirty="0">
                <a:solidFill>
                  <a:srgbClr val="FFFFFF"/>
                </a:solidFill>
              </a:rPr>
              <a:t> d’intervention</a:t>
            </a:r>
            <a:endParaRPr sz="1800"/>
          </a:p>
        </p:txBody>
      </p:sp>
      <p:grpSp>
        <p:nvGrpSpPr>
          <p:cNvPr id="5" name="object 5"/>
          <p:cNvGrpSpPr/>
          <p:nvPr/>
        </p:nvGrpSpPr>
        <p:grpSpPr>
          <a:xfrm>
            <a:off x="5468289" y="777913"/>
            <a:ext cx="6724015" cy="6080125"/>
            <a:chOff x="5468289" y="777913"/>
            <a:chExt cx="6724015" cy="6080125"/>
          </a:xfrm>
        </p:grpSpPr>
        <p:sp>
          <p:nvSpPr>
            <p:cNvPr id="6" name="object 6"/>
            <p:cNvSpPr/>
            <p:nvPr/>
          </p:nvSpPr>
          <p:spPr>
            <a:xfrm>
              <a:off x="5468289" y="1304048"/>
              <a:ext cx="6724015" cy="5554345"/>
            </a:xfrm>
            <a:custGeom>
              <a:avLst/>
              <a:gdLst/>
              <a:ahLst/>
              <a:cxnLst/>
              <a:rect l="l" t="t" r="r" b="b"/>
              <a:pathLst>
                <a:path w="6724015" h="5554345">
                  <a:moveTo>
                    <a:pt x="6723710" y="0"/>
                  </a:moveTo>
                  <a:lnTo>
                    <a:pt x="0" y="0"/>
                  </a:lnTo>
                  <a:lnTo>
                    <a:pt x="0" y="5553951"/>
                  </a:lnTo>
                  <a:lnTo>
                    <a:pt x="6723710" y="5553951"/>
                  </a:lnTo>
                  <a:lnTo>
                    <a:pt x="6723710" y="0"/>
                  </a:lnTo>
                  <a:close/>
                </a:path>
              </a:pathLst>
            </a:custGeom>
            <a:solidFill>
              <a:srgbClr val="F0F9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5495544" y="777913"/>
              <a:ext cx="6687820" cy="458470"/>
            </a:xfrm>
            <a:custGeom>
              <a:avLst/>
              <a:gdLst/>
              <a:ahLst/>
              <a:cxnLst/>
              <a:rect l="l" t="t" r="r" b="b"/>
              <a:pathLst>
                <a:path w="6687820" h="458469">
                  <a:moveTo>
                    <a:pt x="6687807" y="0"/>
                  </a:moveTo>
                  <a:lnTo>
                    <a:pt x="0" y="0"/>
                  </a:lnTo>
                  <a:lnTo>
                    <a:pt x="0" y="457847"/>
                  </a:lnTo>
                  <a:lnTo>
                    <a:pt x="6687807" y="457847"/>
                  </a:lnTo>
                  <a:lnTo>
                    <a:pt x="6687807" y="0"/>
                  </a:lnTo>
                  <a:close/>
                </a:path>
              </a:pathLst>
            </a:custGeom>
            <a:solidFill>
              <a:srgbClr val="0070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7880718" y="852139"/>
            <a:ext cx="1917064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Photos</a:t>
            </a:r>
            <a:r>
              <a:rPr sz="18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du</a:t>
            </a:r>
            <a:r>
              <a:rPr sz="18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FFFFFF"/>
                </a:solidFill>
                <a:latin typeface="Arial"/>
                <a:cs typeface="Arial"/>
              </a:rPr>
              <a:t>terrain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1694" y="5902718"/>
            <a:ext cx="5420995" cy="955675"/>
          </a:xfrm>
          <a:custGeom>
            <a:avLst/>
            <a:gdLst/>
            <a:ahLst/>
            <a:cxnLst/>
            <a:rect l="l" t="t" r="r" b="b"/>
            <a:pathLst>
              <a:path w="5420995" h="955675">
                <a:moveTo>
                  <a:pt x="5420995" y="0"/>
                </a:moveTo>
                <a:lnTo>
                  <a:pt x="0" y="0"/>
                </a:lnTo>
                <a:lnTo>
                  <a:pt x="0" y="955281"/>
                </a:lnTo>
                <a:lnTo>
                  <a:pt x="5420995" y="955281"/>
                </a:lnTo>
                <a:lnTo>
                  <a:pt x="5420995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120435" y="5910643"/>
            <a:ext cx="5262245" cy="9645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0000"/>
              </a:lnSpc>
              <a:spcBef>
                <a:spcPts val="100"/>
              </a:spcBef>
            </a:pPr>
            <a:r>
              <a:rPr sz="1400" dirty="0">
                <a:latin typeface="Arial"/>
                <a:cs typeface="Arial"/>
              </a:rPr>
              <a:t>Depuis</a:t>
            </a:r>
            <a:r>
              <a:rPr sz="1400" spc="16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2023,</a:t>
            </a:r>
            <a:r>
              <a:rPr sz="1400" spc="1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LIMA</a:t>
            </a:r>
            <a:r>
              <a:rPr sz="1400" spc="1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éploie</a:t>
            </a:r>
            <a:r>
              <a:rPr sz="1400" spc="16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1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terventions</a:t>
            </a:r>
            <a:r>
              <a:rPr sz="1400" spc="1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ans</a:t>
            </a:r>
            <a:r>
              <a:rPr sz="1400" spc="16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s</a:t>
            </a:r>
            <a:r>
              <a:rPr sz="1400" spc="1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zones</a:t>
            </a:r>
            <a:r>
              <a:rPr sz="1400" spc="170" dirty="0">
                <a:latin typeface="Arial"/>
                <a:cs typeface="Arial"/>
              </a:rPr>
              <a:t> </a:t>
            </a:r>
            <a:r>
              <a:rPr sz="1400" spc="-50" dirty="0">
                <a:latin typeface="Arial"/>
                <a:cs typeface="Arial"/>
              </a:rPr>
              <a:t>à </a:t>
            </a:r>
            <a:r>
              <a:rPr sz="1400" dirty="0">
                <a:latin typeface="Arial"/>
                <a:cs typeface="Arial"/>
              </a:rPr>
              <a:t>forte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évalence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’enfants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"zéro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dose".</a:t>
            </a:r>
            <a:endParaRPr sz="1400">
              <a:latin typeface="Arial"/>
              <a:cs typeface="Arial"/>
            </a:endParaRPr>
          </a:p>
          <a:p>
            <a:pPr marL="12700" marR="5715">
              <a:lnSpc>
                <a:spcPct val="110000"/>
              </a:lnSpc>
            </a:pPr>
            <a:r>
              <a:rPr sz="1400" dirty="0">
                <a:latin typeface="Arial"/>
                <a:cs typeface="Arial"/>
              </a:rPr>
              <a:t>Bassikounou</a:t>
            </a:r>
            <a:r>
              <a:rPr sz="1400" spc="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(</a:t>
            </a:r>
            <a:r>
              <a:rPr sz="1400" spc="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EC),</a:t>
            </a:r>
            <a:r>
              <a:rPr sz="1400" spc="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orgol</a:t>
            </a:r>
            <a:r>
              <a:rPr sz="1400" spc="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(</a:t>
            </a:r>
            <a:r>
              <a:rPr sz="1400" spc="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5</a:t>
            </a:r>
            <a:r>
              <a:rPr sz="1400" spc="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oughata)</a:t>
            </a:r>
            <a:r>
              <a:rPr sz="1400" spc="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:</a:t>
            </a:r>
            <a:r>
              <a:rPr sz="1400" spc="7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rakna,</a:t>
            </a:r>
            <a:r>
              <a:rPr sz="1400" spc="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raza,</a:t>
            </a:r>
            <a:r>
              <a:rPr sz="1400" spc="7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NKT </a:t>
            </a:r>
            <a:r>
              <a:rPr sz="1400" dirty="0">
                <a:latin typeface="Arial"/>
                <a:cs typeface="Arial"/>
              </a:rPr>
              <a:t>Sud,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Inchiri.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0"/>
            <a:ext cx="12192000" cy="6562725"/>
            <a:chOff x="0" y="0"/>
            <a:chExt cx="12192000" cy="6562725"/>
          </a:xfrm>
        </p:grpSpPr>
        <p:pic>
          <p:nvPicPr>
            <p:cNvPr id="12" name="object 1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9859" y="1253961"/>
              <a:ext cx="5393867" cy="4538929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073091" y="14793"/>
              <a:ext cx="871804" cy="725487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495544" y="1252132"/>
              <a:ext cx="6696456" cy="2274369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79523" y="4462551"/>
              <a:ext cx="3225203" cy="2099576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0"/>
              <a:ext cx="1274284" cy="734796"/>
            </a:xfrm>
            <a:prstGeom prst="rect">
              <a:avLst/>
            </a:prstGeom>
          </p:spPr>
        </p:pic>
      </p:grpSp>
      <p:sp>
        <p:nvSpPr>
          <p:cNvPr id="17" name="object 17"/>
          <p:cNvSpPr txBox="1"/>
          <p:nvPr/>
        </p:nvSpPr>
        <p:spPr>
          <a:xfrm>
            <a:off x="5547029" y="3615207"/>
            <a:ext cx="2712720" cy="8788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Arial"/>
                <a:cs typeface="Arial"/>
              </a:rPr>
              <a:t>Séance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ensibilisation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ur</a:t>
            </a:r>
            <a:r>
              <a:rPr sz="1400" spc="-25" dirty="0">
                <a:latin typeface="Arial"/>
                <a:cs typeface="Arial"/>
              </a:rPr>
              <a:t> la </a:t>
            </a:r>
            <a:r>
              <a:rPr sz="1400" dirty="0">
                <a:latin typeface="Arial"/>
                <a:cs typeface="Arial"/>
              </a:rPr>
              <a:t>vaccination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u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fit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des </a:t>
            </a:r>
            <a:r>
              <a:rPr sz="1400" dirty="0">
                <a:latin typeface="Arial"/>
                <a:cs typeface="Arial"/>
              </a:rPr>
              <a:t>population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idonville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NKT </a:t>
            </a:r>
            <a:r>
              <a:rPr sz="1400" dirty="0">
                <a:latin typeface="Arial"/>
                <a:cs typeface="Arial"/>
              </a:rPr>
              <a:t>Su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ar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COS.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Juin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2025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700846" y="3585768"/>
            <a:ext cx="3381375" cy="665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Arial"/>
                <a:cs typeface="Arial"/>
              </a:rPr>
              <a:t>Séance</a:t>
            </a:r>
            <a:r>
              <a:rPr sz="1400" spc="300" dirty="0">
                <a:latin typeface="Arial"/>
                <a:cs typeface="Arial"/>
              </a:rPr>
              <a:t>  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300" dirty="0">
                <a:latin typeface="Arial"/>
                <a:cs typeface="Arial"/>
              </a:rPr>
              <a:t>   </a:t>
            </a:r>
            <a:r>
              <a:rPr sz="1400" dirty="0">
                <a:latin typeface="Arial"/>
                <a:cs typeface="Arial"/>
              </a:rPr>
              <a:t>sensibilisation</a:t>
            </a:r>
            <a:r>
              <a:rPr sz="1400" spc="300" dirty="0">
                <a:latin typeface="Arial"/>
                <a:cs typeface="Arial"/>
              </a:rPr>
              <a:t>   </a:t>
            </a:r>
            <a:r>
              <a:rPr sz="1400" dirty="0">
                <a:latin typeface="Arial"/>
                <a:cs typeface="Arial"/>
              </a:rPr>
              <a:t>sur</a:t>
            </a:r>
            <a:r>
              <a:rPr sz="1400" spc="300" dirty="0">
                <a:latin typeface="Arial"/>
                <a:cs typeface="Arial"/>
              </a:rPr>
              <a:t>   </a:t>
            </a:r>
            <a:r>
              <a:rPr sz="1400" spc="-25" dirty="0">
                <a:latin typeface="Arial"/>
                <a:cs typeface="Arial"/>
              </a:rPr>
              <a:t>la </a:t>
            </a:r>
            <a:r>
              <a:rPr sz="1400" dirty="0">
                <a:latin typeface="Arial"/>
                <a:cs typeface="Arial"/>
              </a:rPr>
              <a:t>vaccination</a:t>
            </a:r>
            <a:r>
              <a:rPr sz="1400" spc="40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PV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u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fit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40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illes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spc="-35" dirty="0">
                <a:latin typeface="Arial"/>
                <a:cs typeface="Arial"/>
              </a:rPr>
              <a:t>de </a:t>
            </a:r>
            <a:r>
              <a:rPr sz="1400" dirty="0">
                <a:latin typeface="Arial"/>
                <a:cs typeface="Arial"/>
              </a:rPr>
              <a:t>9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s</a:t>
            </a:r>
            <a:r>
              <a:rPr sz="1400" spc="3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à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NKT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ud.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Juin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2025</a:t>
            </a:r>
            <a:endParaRPr sz="14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574363" y="5208600"/>
            <a:ext cx="2011680" cy="665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Arial"/>
                <a:cs typeface="Arial"/>
              </a:rPr>
              <a:t>Appui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LIMA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à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la </a:t>
            </a:r>
            <a:r>
              <a:rPr sz="1400" dirty="0">
                <a:latin typeface="Arial"/>
                <a:cs typeface="Arial"/>
              </a:rPr>
              <a:t>gestio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vaccins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dans </a:t>
            </a:r>
            <a:r>
              <a:rPr sz="1400" dirty="0">
                <a:latin typeface="Arial"/>
                <a:cs typeface="Arial"/>
              </a:rPr>
              <a:t>la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Brakna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57200" y="807081"/>
            <a:ext cx="11296650" cy="651510"/>
          </a:xfrm>
          <a:custGeom>
            <a:avLst/>
            <a:gdLst/>
            <a:ahLst/>
            <a:cxnLst/>
            <a:rect l="l" t="t" r="r" b="b"/>
            <a:pathLst>
              <a:path w="11296650" h="651510">
                <a:moveTo>
                  <a:pt x="11296650" y="0"/>
                </a:moveTo>
                <a:lnTo>
                  <a:pt x="0" y="0"/>
                </a:lnTo>
                <a:lnTo>
                  <a:pt x="0" y="651421"/>
                </a:lnTo>
                <a:lnTo>
                  <a:pt x="11296650" y="651421"/>
                </a:lnTo>
                <a:lnTo>
                  <a:pt x="11296650" y="0"/>
                </a:lnTo>
                <a:close/>
              </a:path>
            </a:pathLst>
          </a:custGeom>
          <a:solidFill>
            <a:srgbClr val="7F7F7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57200" y="993877"/>
            <a:ext cx="11296650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600" spc="-10" dirty="0">
                <a:solidFill>
                  <a:srgbClr val="FFFFFF"/>
                </a:solidFill>
              </a:rPr>
              <a:t>REALISATIONS</a:t>
            </a:r>
            <a:endParaRPr sz="1600"/>
          </a:p>
        </p:txBody>
      </p:sp>
      <p:sp>
        <p:nvSpPr>
          <p:cNvPr id="4" name="object 4"/>
          <p:cNvSpPr txBox="1"/>
          <p:nvPr/>
        </p:nvSpPr>
        <p:spPr>
          <a:xfrm>
            <a:off x="828332" y="5108907"/>
            <a:ext cx="99060" cy="1987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545"/>
              </a:lnSpc>
            </a:pPr>
            <a:r>
              <a:rPr sz="1400" spc="-50" dirty="0">
                <a:latin typeface="Arial"/>
                <a:cs typeface="Arial"/>
              </a:rPr>
              <a:t>–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899708" y="1506270"/>
            <a:ext cx="10922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0070BF"/>
                </a:solidFill>
                <a:latin typeface="Arial"/>
                <a:cs typeface="Arial"/>
              </a:rPr>
              <a:t>Gouvernance</a:t>
            </a:r>
            <a:r>
              <a:rPr sz="1200" b="1" spc="-5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200" b="1" spc="-50" dirty="0">
                <a:solidFill>
                  <a:srgbClr val="0070BF"/>
                </a:solidFill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899708" y="1841550"/>
            <a:ext cx="5697220" cy="18910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1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2023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-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2024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(CDS3)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enue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s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eunions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10" dirty="0">
                <a:latin typeface="Arial"/>
                <a:cs typeface="Arial"/>
              </a:rPr>
              <a:t> microplanification </a:t>
            </a:r>
            <a:r>
              <a:rPr sz="1200" b="1" dirty="0">
                <a:latin typeface="Arial"/>
                <a:cs typeface="Arial"/>
              </a:rPr>
              <a:t>et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10" dirty="0">
                <a:latin typeface="Arial"/>
                <a:cs typeface="Arial"/>
              </a:rPr>
              <a:t> plaidoyer </a:t>
            </a:r>
            <a:r>
              <a:rPr sz="1200" b="1" dirty="0">
                <a:latin typeface="Arial"/>
                <a:cs typeface="Arial"/>
              </a:rPr>
              <a:t>dan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e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écoles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uperieure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t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e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université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NKTT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ur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sensibilisation </a:t>
            </a:r>
            <a:r>
              <a:rPr sz="1200" b="1" spc="-50" dirty="0">
                <a:latin typeface="Arial"/>
                <a:cs typeface="Arial"/>
              </a:rPr>
              <a:t>à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vaccination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u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profit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étudiants.</a:t>
            </a:r>
            <a:endParaRPr sz="1200">
              <a:latin typeface="Arial"/>
              <a:cs typeface="Arial"/>
            </a:endParaRPr>
          </a:p>
          <a:p>
            <a:pPr marL="12700" marR="200660">
              <a:lnSpc>
                <a:spcPct val="110000"/>
              </a:lnSpc>
              <a:spcBef>
                <a:spcPts val="1200"/>
              </a:spcBef>
            </a:pPr>
            <a:r>
              <a:rPr sz="1200" b="1" dirty="0">
                <a:latin typeface="Arial"/>
                <a:cs typeface="Arial"/>
              </a:rPr>
              <a:t>2024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Implementation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trategies de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communication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ur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es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isques de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la </a:t>
            </a:r>
            <a:r>
              <a:rPr sz="1200" b="1" dirty="0">
                <a:latin typeface="Arial"/>
                <a:cs typeface="Arial"/>
              </a:rPr>
              <a:t>rougeol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u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niveau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u</a:t>
            </a:r>
            <a:r>
              <a:rPr sz="1200" b="1" spc="-20" dirty="0">
                <a:latin typeface="Arial"/>
                <a:cs typeface="Arial"/>
              </a:rPr>
              <a:t> HEC.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345"/>
              </a:spcBef>
            </a:pPr>
            <a:r>
              <a:rPr sz="1200" b="1" dirty="0">
                <a:latin typeface="Arial"/>
                <a:cs typeface="Arial"/>
              </a:rPr>
              <a:t>2025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évision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24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Microplan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24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Moughataas.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340"/>
              </a:spcBef>
            </a:pPr>
            <a:r>
              <a:rPr sz="1200" b="1" dirty="0">
                <a:latin typeface="Arial"/>
                <a:cs typeface="Arial"/>
              </a:rPr>
              <a:t>2023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-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2025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s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upports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idactiques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t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10" dirty="0">
                <a:latin typeface="Arial"/>
                <a:cs typeface="Arial"/>
              </a:rPr>
              <a:t> communication élaborés.</a:t>
            </a:r>
            <a:endParaRPr sz="12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899708" y="3877614"/>
            <a:ext cx="9906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0070BF"/>
                </a:solidFill>
                <a:latin typeface="Arial"/>
                <a:cs typeface="Arial"/>
              </a:rPr>
              <a:t>Supervision</a:t>
            </a:r>
            <a:r>
              <a:rPr sz="1200" b="1" spc="-5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200" b="1" spc="-50" dirty="0">
                <a:solidFill>
                  <a:srgbClr val="0070BF"/>
                </a:solidFill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899708" y="4231182"/>
            <a:ext cx="5486400" cy="11169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2023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2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upervision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ormative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éalisée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an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adr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u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CA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23.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340"/>
              </a:spcBef>
            </a:pPr>
            <a:r>
              <a:rPr sz="1200" b="1" dirty="0">
                <a:latin typeface="Arial"/>
                <a:cs typeface="Arial"/>
              </a:rPr>
              <a:t>2024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78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unite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ixe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vaccination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CA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24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ont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été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supervisées.</a:t>
            </a:r>
            <a:endParaRPr sz="1200">
              <a:latin typeface="Arial"/>
              <a:cs typeface="Arial"/>
            </a:endParaRPr>
          </a:p>
          <a:p>
            <a:pPr marL="12700" marR="5080">
              <a:lnSpc>
                <a:spcPct val="110000"/>
              </a:lnSpc>
              <a:spcBef>
                <a:spcPts val="1200"/>
              </a:spcBef>
            </a:pPr>
            <a:r>
              <a:rPr sz="1200" b="1" dirty="0">
                <a:latin typeface="Arial"/>
                <a:cs typeface="Arial"/>
              </a:rPr>
              <a:t>2025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58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unité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ixe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vaccination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10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Moughataa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rarza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t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NKT </a:t>
            </a:r>
            <a:r>
              <a:rPr sz="1200" b="1" dirty="0">
                <a:latin typeface="Arial"/>
                <a:cs typeface="Arial"/>
              </a:rPr>
              <a:t>Sud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ont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été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upervisée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an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adr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u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CA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25.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942049" y="5493054"/>
            <a:ext cx="9734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0070BF"/>
                </a:solidFill>
                <a:latin typeface="Arial"/>
                <a:cs typeface="Arial"/>
              </a:rPr>
              <a:t>Vaccination</a:t>
            </a:r>
            <a:r>
              <a:rPr sz="1200" b="1" spc="-6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200" b="1" spc="-50" dirty="0">
                <a:solidFill>
                  <a:srgbClr val="0070BF"/>
                </a:solidFill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899708" y="5828334"/>
            <a:ext cx="5512435" cy="7816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0000"/>
              </a:lnSpc>
              <a:spcBef>
                <a:spcPts val="100"/>
              </a:spcBef>
            </a:pPr>
            <a:r>
              <a:rPr sz="1200" b="1" spc="-10" dirty="0">
                <a:latin typeface="Arial"/>
                <a:cs typeface="Arial"/>
              </a:rPr>
              <a:t>2023-</a:t>
            </a:r>
            <a:r>
              <a:rPr sz="1200" b="1" dirty="0">
                <a:latin typeface="Arial"/>
                <a:cs typeface="Arial"/>
              </a:rPr>
              <a:t>2024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30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33</a:t>
            </a:r>
            <a:r>
              <a:rPr sz="1200" b="1" spc="3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VI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ont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été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éalisée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an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zone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à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aibl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ouvertur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an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le </a:t>
            </a:r>
            <a:r>
              <a:rPr sz="1200" b="1" dirty="0">
                <a:latin typeface="Arial"/>
                <a:cs typeface="Arial"/>
              </a:rPr>
              <a:t>cadr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u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DS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3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t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CA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24.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345"/>
              </a:spcBef>
            </a:pPr>
            <a:r>
              <a:rPr sz="1200" b="1" spc="-10" dirty="0">
                <a:latin typeface="Arial"/>
                <a:cs typeface="Arial"/>
              </a:rPr>
              <a:t>2024-</a:t>
            </a:r>
            <a:r>
              <a:rPr sz="1200" b="1" dirty="0">
                <a:latin typeface="Arial"/>
                <a:cs typeface="Arial"/>
              </a:rPr>
              <a:t>2025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ppui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R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à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ipost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ontr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’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épidémio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rougéole.</a:t>
            </a:r>
            <a:endParaRPr sz="1200">
              <a:latin typeface="Arial"/>
              <a:cs typeface="Arial"/>
            </a:endParaRPr>
          </a:p>
        </p:txBody>
      </p:sp>
      <p:pic>
        <p:nvPicPr>
          <p:cNvPr id="11" name="object 1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210302" y="6334963"/>
            <a:ext cx="807013" cy="456882"/>
          </a:xfrm>
          <a:prstGeom prst="rect">
            <a:avLst/>
          </a:prstGeom>
        </p:spPr>
      </p:pic>
      <p:grpSp>
        <p:nvGrpSpPr>
          <p:cNvPr id="12" name="object 12"/>
          <p:cNvGrpSpPr/>
          <p:nvPr/>
        </p:nvGrpSpPr>
        <p:grpSpPr>
          <a:xfrm>
            <a:off x="457200" y="66146"/>
            <a:ext cx="11389360" cy="6553834"/>
            <a:chOff x="457200" y="66146"/>
            <a:chExt cx="11389360" cy="6553834"/>
          </a:xfrm>
        </p:grpSpPr>
        <p:pic>
          <p:nvPicPr>
            <p:cNvPr id="13" name="object 1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974260" y="66146"/>
              <a:ext cx="871804" cy="725487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457200" y="1481709"/>
              <a:ext cx="5325745" cy="5138420"/>
            </a:xfrm>
            <a:custGeom>
              <a:avLst/>
              <a:gdLst/>
              <a:ahLst/>
              <a:cxnLst/>
              <a:rect l="l" t="t" r="r" b="b"/>
              <a:pathLst>
                <a:path w="5325745" h="5138420">
                  <a:moveTo>
                    <a:pt x="5325694" y="0"/>
                  </a:moveTo>
                  <a:lnTo>
                    <a:pt x="0" y="0"/>
                  </a:lnTo>
                  <a:lnTo>
                    <a:pt x="0" y="5138229"/>
                  </a:lnTo>
                  <a:lnTo>
                    <a:pt x="5325694" y="5138229"/>
                  </a:lnTo>
                  <a:lnTo>
                    <a:pt x="532569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535940" y="1511503"/>
            <a:ext cx="5164455" cy="43262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0070BF"/>
                </a:solidFill>
                <a:latin typeface="Arial"/>
                <a:cs typeface="Arial"/>
              </a:rPr>
              <a:t>Formation</a:t>
            </a:r>
            <a:r>
              <a:rPr sz="1200" b="1" spc="-50" dirty="0">
                <a:solidFill>
                  <a:srgbClr val="0070BF"/>
                </a:solidFill>
                <a:latin typeface="Arial"/>
                <a:cs typeface="Arial"/>
              </a:rPr>
              <a:t> :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340"/>
              </a:spcBef>
            </a:pPr>
            <a:r>
              <a:rPr sz="1200" b="1" dirty="0">
                <a:latin typeface="Arial"/>
                <a:cs typeface="Arial"/>
              </a:rPr>
              <a:t>2023: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CA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23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120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infirmiers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ormé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à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10" dirty="0">
                <a:latin typeface="Arial"/>
                <a:cs typeface="Arial"/>
              </a:rPr>
              <a:t> vaccinologie.</a:t>
            </a:r>
            <a:endParaRPr sz="1200">
              <a:latin typeface="Arial"/>
              <a:cs typeface="Arial"/>
            </a:endParaRPr>
          </a:p>
          <a:p>
            <a:pPr marL="12700" marR="344170">
              <a:lnSpc>
                <a:spcPct val="110000"/>
              </a:lnSpc>
              <a:spcBef>
                <a:spcPts val="1205"/>
              </a:spcBef>
            </a:pPr>
            <a:r>
              <a:rPr sz="1200" b="1" dirty="0">
                <a:latin typeface="Arial"/>
                <a:cs typeface="Arial"/>
              </a:rPr>
              <a:t>2023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DS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3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100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ecos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ormés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à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10" dirty="0">
                <a:latin typeface="Arial"/>
                <a:cs typeface="Arial"/>
              </a:rPr>
              <a:t> mobilisation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Communautaire </a:t>
            </a:r>
            <a:r>
              <a:rPr sz="1200" b="1" dirty="0">
                <a:latin typeface="Arial"/>
                <a:cs typeface="Arial"/>
              </a:rPr>
              <a:t>pour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vaccination.</a:t>
            </a:r>
            <a:endParaRPr sz="1200">
              <a:latin typeface="Arial"/>
              <a:cs typeface="Arial"/>
            </a:endParaRPr>
          </a:p>
          <a:p>
            <a:pPr marL="12700" marR="834390">
              <a:lnSpc>
                <a:spcPct val="110000"/>
              </a:lnSpc>
              <a:spcBef>
                <a:spcPts val="1200"/>
              </a:spcBef>
            </a:pPr>
            <a:r>
              <a:rPr sz="1200" b="1" dirty="0">
                <a:latin typeface="Arial"/>
                <a:cs typeface="Arial"/>
              </a:rPr>
              <a:t>2024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CA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24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100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ecos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ormés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à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sensibilisation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t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à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la </a:t>
            </a:r>
            <a:r>
              <a:rPr sz="1200" b="1" spc="-10" dirty="0">
                <a:latin typeface="Arial"/>
                <a:cs typeface="Arial"/>
              </a:rPr>
              <a:t>mobilisation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ommunautair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pour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vaccination.</a:t>
            </a:r>
            <a:endParaRPr sz="1200">
              <a:latin typeface="Arial"/>
              <a:cs typeface="Arial"/>
            </a:endParaRPr>
          </a:p>
          <a:p>
            <a:pPr marL="12700" marR="824865">
              <a:lnSpc>
                <a:spcPct val="110000"/>
              </a:lnSpc>
              <a:spcBef>
                <a:spcPts val="1200"/>
              </a:spcBef>
            </a:pPr>
            <a:r>
              <a:rPr sz="1200" b="1" dirty="0">
                <a:latin typeface="Arial"/>
                <a:cs typeface="Arial"/>
              </a:rPr>
              <a:t>2024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-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2025: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BCU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60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Infirmier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hefs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poste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ormé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à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la </a:t>
            </a:r>
            <a:r>
              <a:rPr sz="1200" b="1" spc="-10" dirty="0">
                <a:latin typeface="Arial"/>
                <a:cs typeface="Arial"/>
              </a:rPr>
              <a:t>vaccination.</a:t>
            </a:r>
            <a:endParaRPr sz="1200">
              <a:latin typeface="Arial"/>
              <a:cs typeface="Arial"/>
            </a:endParaRPr>
          </a:p>
          <a:p>
            <a:pPr marL="12700" marR="655955">
              <a:lnSpc>
                <a:spcPct val="110000"/>
              </a:lnSpc>
              <a:spcBef>
                <a:spcPts val="1200"/>
              </a:spcBef>
            </a:pPr>
            <a:r>
              <a:rPr sz="1200" b="1" dirty="0">
                <a:latin typeface="Arial"/>
                <a:cs typeface="Arial"/>
              </a:rPr>
              <a:t>2025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CA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25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10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esponsable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OSC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t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90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eco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ormé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à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la </a:t>
            </a:r>
            <a:r>
              <a:rPr sz="1200" b="1" spc="-10" dirty="0">
                <a:latin typeface="Arial"/>
                <a:cs typeface="Arial"/>
              </a:rPr>
              <a:t>sensibilisation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t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à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mobilisation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ommunautaire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pour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la </a:t>
            </a:r>
            <a:r>
              <a:rPr sz="1200" b="1" spc="-10" dirty="0">
                <a:latin typeface="Arial"/>
                <a:cs typeface="Arial"/>
              </a:rPr>
              <a:t>vaccination.</a:t>
            </a:r>
            <a:endParaRPr sz="1200">
              <a:latin typeface="Arial"/>
              <a:cs typeface="Arial"/>
            </a:endParaRPr>
          </a:p>
          <a:p>
            <a:pPr marL="12700" marR="5080">
              <a:lnSpc>
                <a:spcPct val="109900"/>
              </a:lnSpc>
              <a:spcBef>
                <a:spcPts val="1200"/>
              </a:spcBef>
            </a:pPr>
            <a:r>
              <a:rPr sz="1200" b="1" dirty="0">
                <a:latin typeface="Arial"/>
                <a:cs typeface="Arial"/>
              </a:rPr>
              <a:t>2025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GAVI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OSC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20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esponsable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ooperative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eminine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formées </a:t>
            </a:r>
            <a:r>
              <a:rPr sz="1200" b="1" dirty="0">
                <a:latin typeface="Arial"/>
                <a:cs typeface="Arial"/>
              </a:rPr>
              <a:t>et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190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ecos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à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 </a:t>
            </a:r>
            <a:r>
              <a:rPr sz="1200" b="1" spc="-10" dirty="0">
                <a:latin typeface="Arial"/>
                <a:cs typeface="Arial"/>
              </a:rPr>
              <a:t>sensibilisation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t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mobilisation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ommunautaire </a:t>
            </a:r>
            <a:r>
              <a:rPr sz="1200" b="1" spc="-20" dirty="0">
                <a:latin typeface="Arial"/>
                <a:cs typeface="Arial"/>
              </a:rPr>
              <a:t>pour</a:t>
            </a:r>
            <a:r>
              <a:rPr sz="1200" b="1" spc="50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vaccination</a:t>
            </a:r>
            <a:r>
              <a:rPr sz="1400" b="1" spc="-10" dirty="0">
                <a:latin typeface="Arial"/>
                <a:cs typeface="Arial"/>
              </a:rPr>
              <a:t>.</a:t>
            </a:r>
            <a:endParaRPr sz="1400">
              <a:latin typeface="Arial"/>
              <a:cs typeface="Arial"/>
            </a:endParaRPr>
          </a:p>
          <a:p>
            <a:pPr marL="12700" marR="175260">
              <a:lnSpc>
                <a:spcPct val="110000"/>
              </a:lnSpc>
              <a:spcBef>
                <a:spcPts val="1225"/>
              </a:spcBef>
            </a:pPr>
            <a:r>
              <a:rPr sz="1200" b="1" dirty="0">
                <a:latin typeface="Arial"/>
                <a:cs typeface="Arial"/>
              </a:rPr>
              <a:t>2025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: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GAVI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HPV: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60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ICP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ormés,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60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Inspecteur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’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nseignement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et </a:t>
            </a:r>
            <a:r>
              <a:rPr sz="1200" b="1" dirty="0">
                <a:latin typeface="Arial"/>
                <a:cs typeface="Arial"/>
              </a:rPr>
              <a:t>directeurs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’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écoles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à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a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vaccination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u</a:t>
            </a:r>
            <a:r>
              <a:rPr sz="1200" b="1" spc="-20" dirty="0">
                <a:latin typeface="Arial"/>
                <a:cs typeface="Arial"/>
              </a:rPr>
              <a:t> HPV.</a:t>
            </a:r>
            <a:endParaRPr sz="1200">
              <a:latin typeface="Arial"/>
              <a:cs typeface="Arial"/>
            </a:endParaRPr>
          </a:p>
        </p:txBody>
      </p:sp>
      <p:pic>
        <p:nvPicPr>
          <p:cNvPr id="16" name="object 1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1274284" cy="725487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4326" y="712525"/>
            <a:ext cx="3971290" cy="458470"/>
          </a:xfrm>
          <a:prstGeom prst="rect">
            <a:avLst/>
          </a:prstGeom>
          <a:solidFill>
            <a:srgbClr val="0070BF"/>
          </a:solidFill>
        </p:spPr>
        <p:txBody>
          <a:bodyPr vert="horz" wrap="square" lIns="0" tIns="109220" rIns="0" bIns="0" rtlCol="0">
            <a:spAutoFit/>
          </a:bodyPr>
          <a:lstStyle/>
          <a:p>
            <a:pPr marL="175260" algn="ctr">
              <a:lnSpc>
                <a:spcPct val="100000"/>
              </a:lnSpc>
              <a:spcBef>
                <a:spcPts val="860"/>
              </a:spcBef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Victoires</a:t>
            </a:r>
            <a:r>
              <a:rPr sz="16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et</a:t>
            </a:r>
            <a:r>
              <a:rPr sz="16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succès</a:t>
            </a:r>
            <a:r>
              <a:rPr sz="16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du</a:t>
            </a:r>
            <a:r>
              <a:rPr sz="16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projet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75856" y="1234565"/>
            <a:ext cx="3584575" cy="1574165"/>
          </a:xfrm>
          <a:custGeom>
            <a:avLst/>
            <a:gdLst/>
            <a:ahLst/>
            <a:cxnLst/>
            <a:rect l="l" t="t" r="r" b="b"/>
            <a:pathLst>
              <a:path w="3584575" h="1574164">
                <a:moveTo>
                  <a:pt x="3584079" y="0"/>
                </a:moveTo>
                <a:lnTo>
                  <a:pt x="0" y="0"/>
                </a:lnTo>
                <a:lnTo>
                  <a:pt x="0" y="1574063"/>
                </a:lnTo>
                <a:lnTo>
                  <a:pt x="3584079" y="1574063"/>
                </a:lnTo>
                <a:lnTo>
                  <a:pt x="3584079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484294" y="1234565"/>
            <a:ext cx="3511550" cy="1574165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20320" rIns="0" bIns="0" rtlCol="0">
            <a:spAutoFit/>
          </a:bodyPr>
          <a:lstStyle/>
          <a:p>
            <a:pPr marL="82550" marR="120014">
              <a:lnSpc>
                <a:spcPct val="110000"/>
              </a:lnSpc>
              <a:spcBef>
                <a:spcPts val="160"/>
              </a:spcBef>
            </a:pPr>
            <a:r>
              <a:rPr sz="1400" dirty="0">
                <a:latin typeface="Arial"/>
                <a:cs typeface="Arial"/>
              </a:rPr>
              <a:t>Forte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obilisation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communautaire </a:t>
            </a:r>
            <a:r>
              <a:rPr sz="1400" dirty="0">
                <a:latin typeface="Arial"/>
                <a:cs typeface="Arial"/>
              </a:rPr>
              <a:t>(Approch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ASPA,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BC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+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M)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→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accès </a:t>
            </a:r>
            <a:r>
              <a:rPr sz="1400" dirty="0">
                <a:latin typeface="Arial"/>
                <a:cs typeface="Arial"/>
              </a:rPr>
              <a:t>élargi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ux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nfant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vivant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an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-10" dirty="0">
                <a:latin typeface="Arial"/>
                <a:cs typeface="Arial"/>
              </a:rPr>
              <a:t> zones </a:t>
            </a:r>
            <a:r>
              <a:rPr sz="1400" dirty="0">
                <a:latin typeface="Arial"/>
                <a:cs typeface="Arial"/>
              </a:rPr>
              <a:t>isolée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u </a:t>
            </a:r>
            <a:r>
              <a:rPr sz="1400" spc="-10" dirty="0">
                <a:latin typeface="Arial"/>
                <a:cs typeface="Arial"/>
              </a:rPr>
              <a:t>marginalisées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73351" y="2827540"/>
            <a:ext cx="3584575" cy="3408045"/>
          </a:xfrm>
          <a:custGeom>
            <a:avLst/>
            <a:gdLst/>
            <a:ahLst/>
            <a:cxnLst/>
            <a:rect l="l" t="t" r="r" b="b"/>
            <a:pathLst>
              <a:path w="3584575" h="3408045">
                <a:moveTo>
                  <a:pt x="3584409" y="0"/>
                </a:moveTo>
                <a:lnTo>
                  <a:pt x="0" y="0"/>
                </a:lnTo>
                <a:lnTo>
                  <a:pt x="0" y="3407714"/>
                </a:lnTo>
                <a:lnTo>
                  <a:pt x="3584409" y="3407714"/>
                </a:lnTo>
                <a:lnTo>
                  <a:pt x="3584409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484294" y="2827540"/>
            <a:ext cx="3511550" cy="325120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41910" rIns="0" bIns="0" rtlCol="0">
            <a:spAutoFit/>
          </a:bodyPr>
          <a:lstStyle/>
          <a:p>
            <a:pPr marL="80010">
              <a:lnSpc>
                <a:spcPct val="100000"/>
              </a:lnSpc>
              <a:spcBef>
                <a:spcPts val="330"/>
              </a:spcBef>
            </a:pPr>
            <a:r>
              <a:rPr sz="1400" dirty="0">
                <a:latin typeface="Arial"/>
                <a:cs typeface="Arial"/>
              </a:rPr>
              <a:t>Evoluntiuon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uverture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enta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50" dirty="0">
                <a:latin typeface="Arial"/>
                <a:cs typeface="Arial"/>
              </a:rPr>
              <a:t>3</a:t>
            </a:r>
            <a:endParaRPr sz="14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4326" y="1234565"/>
            <a:ext cx="449580" cy="87693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36830" rIns="0" bIns="0" rtlCol="0">
            <a:spAutoFit/>
          </a:bodyPr>
          <a:lstStyle/>
          <a:p>
            <a:pPr marL="85090">
              <a:lnSpc>
                <a:spcPct val="100000"/>
              </a:lnSpc>
              <a:spcBef>
                <a:spcPts val="29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32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8460" y="2813151"/>
            <a:ext cx="434975" cy="87693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3683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29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32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103387" y="724437"/>
            <a:ext cx="4088765" cy="446405"/>
          </a:xfrm>
          <a:prstGeom prst="rect">
            <a:avLst/>
          </a:prstGeom>
          <a:solidFill>
            <a:srgbClr val="D8D8D8"/>
          </a:solidFill>
        </p:spPr>
        <p:txBody>
          <a:bodyPr vert="horz" wrap="square" lIns="0" tIns="4191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30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commandation</a:t>
            </a:r>
            <a:r>
              <a:rPr sz="14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à</a:t>
            </a:r>
            <a:r>
              <a:rPr sz="1400" b="1" spc="3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différents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niveau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8634412" y="1260148"/>
            <a:ext cx="3539490" cy="4900930"/>
          </a:xfrm>
          <a:custGeom>
            <a:avLst/>
            <a:gdLst/>
            <a:ahLst/>
            <a:cxnLst/>
            <a:rect l="l" t="t" r="r" b="b"/>
            <a:pathLst>
              <a:path w="3539490" h="4900930">
                <a:moveTo>
                  <a:pt x="3539121" y="0"/>
                </a:moveTo>
                <a:lnTo>
                  <a:pt x="0" y="0"/>
                </a:lnTo>
                <a:lnTo>
                  <a:pt x="0" y="4900841"/>
                </a:lnTo>
                <a:lnTo>
                  <a:pt x="3539121" y="4900841"/>
                </a:lnTo>
                <a:lnTo>
                  <a:pt x="3539121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8713152" y="1268070"/>
            <a:ext cx="2889885" cy="729615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65"/>
              </a:spcBef>
            </a:pPr>
            <a:r>
              <a:rPr sz="1400" b="1" dirty="0">
                <a:latin typeface="Arial"/>
                <a:cs typeface="Arial"/>
              </a:rPr>
              <a:t>Au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niveau</a:t>
            </a:r>
            <a:r>
              <a:rPr sz="1400" b="1" spc="-1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de</a:t>
            </a:r>
            <a:r>
              <a:rPr sz="1400" b="1" spc="-1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GAVI</a:t>
            </a:r>
            <a:r>
              <a:rPr sz="1400" b="1" spc="-10" dirty="0">
                <a:latin typeface="Arial"/>
                <a:cs typeface="Arial"/>
              </a:rPr>
              <a:t> </a:t>
            </a:r>
            <a:r>
              <a:rPr sz="1400" b="1" spc="-50" dirty="0">
                <a:latin typeface="Arial"/>
                <a:cs typeface="Arial"/>
              </a:rPr>
              <a:t>:</a:t>
            </a:r>
            <a:endParaRPr sz="1400">
              <a:latin typeface="Arial"/>
              <a:cs typeface="Arial"/>
            </a:endParaRPr>
          </a:p>
          <a:p>
            <a:pPr marL="12700" marR="5080">
              <a:lnSpc>
                <a:spcPct val="110000"/>
              </a:lnSpc>
            </a:pPr>
            <a:r>
              <a:rPr sz="1400" dirty="0">
                <a:latin typeface="Arial"/>
                <a:cs typeface="Arial"/>
              </a:rPr>
              <a:t>Accroite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llocation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budgetaires </a:t>
            </a:r>
            <a:r>
              <a:rPr sz="1400" dirty="0">
                <a:latin typeface="Arial"/>
                <a:cs typeface="Arial"/>
              </a:rPr>
              <a:t>conséquente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our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jet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futur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713152" y="2206853"/>
            <a:ext cx="2929890" cy="4953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0000"/>
              </a:lnSpc>
              <a:spcBef>
                <a:spcPts val="100"/>
              </a:spcBef>
            </a:pPr>
            <a:r>
              <a:rPr sz="1400" dirty="0">
                <a:latin typeface="Arial"/>
                <a:cs typeface="Arial"/>
              </a:rPr>
              <a:t>Elargir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à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’autre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hématique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à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haut </a:t>
            </a:r>
            <a:r>
              <a:rPr sz="1400" spc="-10" dirty="0">
                <a:latin typeface="Arial"/>
                <a:cs typeface="Arial"/>
              </a:rPr>
              <a:t>impact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713152" y="2910941"/>
            <a:ext cx="3380740" cy="7296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10000"/>
              </a:lnSpc>
              <a:spcBef>
                <a:spcPts val="100"/>
              </a:spcBef>
            </a:pPr>
            <a:r>
              <a:rPr sz="1400" dirty="0">
                <a:latin typeface="Arial"/>
                <a:cs typeface="Arial"/>
              </a:rPr>
              <a:t>L’ancrage</a:t>
            </a:r>
            <a:r>
              <a:rPr sz="1400" spc="6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communautaire</a:t>
            </a:r>
            <a:r>
              <a:rPr sz="1400" spc="7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à</a:t>
            </a:r>
            <a:r>
              <a:rPr sz="1400" spc="7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travers</a:t>
            </a:r>
            <a:r>
              <a:rPr sz="1400" spc="70" dirty="0">
                <a:latin typeface="Arial"/>
                <a:cs typeface="Arial"/>
              </a:rPr>
              <a:t>  </a:t>
            </a:r>
            <a:r>
              <a:rPr sz="1400" spc="-25" dirty="0">
                <a:latin typeface="Arial"/>
                <a:cs typeface="Arial"/>
              </a:rPr>
              <a:t>les </a:t>
            </a:r>
            <a:r>
              <a:rPr sz="1400" dirty="0">
                <a:latin typeface="Arial"/>
                <a:cs typeface="Arial"/>
              </a:rPr>
              <a:t>OSC</a:t>
            </a:r>
            <a:r>
              <a:rPr sz="1400" spc="30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t</a:t>
            </a:r>
            <a:r>
              <a:rPr sz="1400" spc="3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</a:t>
            </a:r>
            <a:r>
              <a:rPr sz="1400" spc="3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articipation</a:t>
            </a:r>
            <a:r>
              <a:rPr sz="1400" spc="30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ctive</a:t>
            </a:r>
            <a:r>
              <a:rPr sz="1400" spc="3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31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relais </a:t>
            </a:r>
            <a:r>
              <a:rPr sz="1400" dirty="0">
                <a:latin typeface="Arial"/>
                <a:cs typeface="Arial"/>
              </a:rPr>
              <a:t>locaux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oit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être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renforcé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713152" y="3767429"/>
            <a:ext cx="3303904" cy="964565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65"/>
              </a:spcBef>
            </a:pPr>
            <a:r>
              <a:rPr sz="1400" b="1" dirty="0">
                <a:latin typeface="Arial"/>
                <a:cs typeface="Arial"/>
              </a:rPr>
              <a:t>Au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niveau</a:t>
            </a:r>
            <a:r>
              <a:rPr sz="1400" b="1" spc="-1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des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CCM</a:t>
            </a:r>
            <a:r>
              <a:rPr sz="1400" b="1" spc="-1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&amp;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DRS</a:t>
            </a:r>
            <a:r>
              <a:rPr sz="1400" b="1" spc="-5" dirty="0">
                <a:latin typeface="Arial"/>
                <a:cs typeface="Arial"/>
              </a:rPr>
              <a:t> </a:t>
            </a:r>
            <a:r>
              <a:rPr sz="1400" spc="-50" dirty="0">
                <a:latin typeface="Arial"/>
                <a:cs typeface="Arial"/>
              </a:rPr>
              <a:t>:</a:t>
            </a:r>
            <a:endParaRPr sz="1400">
              <a:latin typeface="Arial"/>
              <a:cs typeface="Arial"/>
            </a:endParaRPr>
          </a:p>
          <a:p>
            <a:pPr marL="12700" marR="5080">
              <a:lnSpc>
                <a:spcPct val="110000"/>
              </a:lnSpc>
            </a:pPr>
            <a:r>
              <a:rPr sz="1400" dirty="0">
                <a:latin typeface="Arial"/>
                <a:cs typeface="Arial"/>
              </a:rPr>
              <a:t>Prioriser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ctivité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njointes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planifiées </a:t>
            </a:r>
            <a:r>
              <a:rPr sz="1400" dirty="0">
                <a:latin typeface="Arial"/>
                <a:cs typeface="Arial"/>
              </a:rPr>
              <a:t>avec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artenaires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our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on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exécution </a:t>
            </a:r>
            <a:r>
              <a:rPr sz="1400" dirty="0">
                <a:latin typeface="Arial"/>
                <a:cs typeface="Arial"/>
              </a:rPr>
              <a:t>dans les </a:t>
            </a:r>
            <a:r>
              <a:rPr sz="1400" spc="-10" dirty="0">
                <a:latin typeface="Arial"/>
                <a:cs typeface="Arial"/>
              </a:rPr>
              <a:t>délais;</a:t>
            </a:r>
            <a:endParaRPr sz="14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713152" y="4940909"/>
            <a:ext cx="3256279" cy="7296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0000"/>
              </a:lnSpc>
              <a:spcBef>
                <a:spcPts val="100"/>
              </a:spcBef>
            </a:pPr>
            <a:r>
              <a:rPr sz="1400" dirty="0">
                <a:latin typeface="Arial"/>
                <a:cs typeface="Arial"/>
              </a:rPr>
              <a:t>Pris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n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pte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onnée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AVI </a:t>
            </a:r>
            <a:r>
              <a:rPr sz="1400" dirty="0">
                <a:latin typeface="Arial"/>
                <a:cs typeface="Arial"/>
              </a:rPr>
              <a:t>dans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acul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uvertures</a:t>
            </a:r>
            <a:r>
              <a:rPr sz="1400" spc="-10" dirty="0">
                <a:latin typeface="Arial"/>
                <a:cs typeface="Arial"/>
              </a:rPr>
              <a:t> vaccinales (DHIS2)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8130552" y="1253195"/>
            <a:ext cx="492759" cy="1016000"/>
          </a:xfrm>
          <a:custGeom>
            <a:avLst/>
            <a:gdLst/>
            <a:ahLst/>
            <a:cxnLst/>
            <a:rect l="l" t="t" r="r" b="b"/>
            <a:pathLst>
              <a:path w="492759" h="1016000">
                <a:moveTo>
                  <a:pt x="492257" y="0"/>
                </a:moveTo>
                <a:lnTo>
                  <a:pt x="0" y="0"/>
                </a:lnTo>
                <a:lnTo>
                  <a:pt x="0" y="1016000"/>
                </a:lnTo>
                <a:lnTo>
                  <a:pt x="492257" y="1016000"/>
                </a:lnTo>
                <a:lnTo>
                  <a:pt x="492257" y="0"/>
                </a:lnTo>
                <a:close/>
              </a:path>
            </a:pathLst>
          </a:custGeom>
          <a:solidFill>
            <a:srgbClr val="7F7F7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8209292" y="1277620"/>
            <a:ext cx="251460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32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84294" y="4801273"/>
            <a:ext cx="3511550" cy="1434465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698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5"/>
              </a:spcBef>
            </a:pPr>
            <a:endParaRPr sz="1400">
              <a:latin typeface="Times New Roman"/>
              <a:cs typeface="Times New Roman"/>
            </a:endParaRPr>
          </a:p>
          <a:p>
            <a:pPr marL="80010" marR="260985">
              <a:lnSpc>
                <a:spcPct val="110000"/>
              </a:lnSpc>
            </a:pPr>
            <a:r>
              <a:rPr sz="1400" dirty="0">
                <a:latin typeface="Arial"/>
                <a:cs typeface="Arial"/>
              </a:rPr>
              <a:t>Amélioration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ntr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2022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t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2024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50" dirty="0">
                <a:latin typeface="Arial"/>
                <a:cs typeface="Arial"/>
              </a:rPr>
              <a:t>: </a:t>
            </a:r>
            <a:r>
              <a:rPr sz="1400" dirty="0">
                <a:latin typeface="Arial"/>
                <a:cs typeface="Arial"/>
              </a:rPr>
              <a:t>Stimulatio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mand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ar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un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forte </a:t>
            </a:r>
            <a:r>
              <a:rPr sz="1400" dirty="0">
                <a:latin typeface="Arial"/>
                <a:cs typeface="Arial"/>
              </a:rPr>
              <a:t>mobilisation</a:t>
            </a:r>
            <a:r>
              <a:rPr sz="1400" spc="-6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communautaire</a:t>
            </a:r>
            <a:endParaRPr sz="1400">
              <a:latin typeface="Arial"/>
              <a:cs typeface="Arial"/>
            </a:endParaRPr>
          </a:p>
          <a:p>
            <a:pPr marL="80010" marR="427990">
              <a:lnSpc>
                <a:spcPct val="110000"/>
              </a:lnSpc>
            </a:pPr>
            <a:r>
              <a:rPr sz="1400" dirty="0">
                <a:latin typeface="Arial"/>
                <a:cs typeface="Arial"/>
              </a:rPr>
              <a:t>Mis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n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euvr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liniques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Mobiles </a:t>
            </a:r>
            <a:r>
              <a:rPr sz="1400" dirty="0">
                <a:latin typeface="Arial"/>
                <a:cs typeface="Arial"/>
              </a:rPr>
              <a:t>dans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 </a:t>
            </a:r>
            <a:r>
              <a:rPr sz="1400" spc="-25" dirty="0">
                <a:latin typeface="Arial"/>
                <a:cs typeface="Arial"/>
              </a:rPr>
              <a:t>HEC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19" name="object 1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84294" y="3152368"/>
            <a:ext cx="3510927" cy="1648904"/>
          </a:xfrm>
          <a:prstGeom prst="rect">
            <a:avLst/>
          </a:prstGeom>
        </p:spPr>
      </p:pic>
      <p:pic>
        <p:nvPicPr>
          <p:cNvPr id="20" name="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320271" y="32331"/>
            <a:ext cx="657353" cy="547027"/>
          </a:xfrm>
          <a:prstGeom prst="rect">
            <a:avLst/>
          </a:prstGeom>
        </p:spPr>
      </p:pic>
      <p:pic>
        <p:nvPicPr>
          <p:cNvPr id="21" name="object 2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1274284" cy="680415"/>
          </a:xfrm>
          <a:prstGeom prst="rect">
            <a:avLst/>
          </a:prstGeom>
        </p:spPr>
      </p:pic>
      <p:sp>
        <p:nvSpPr>
          <p:cNvPr id="22" name="object 22"/>
          <p:cNvSpPr txBox="1"/>
          <p:nvPr/>
        </p:nvSpPr>
        <p:spPr>
          <a:xfrm>
            <a:off x="16054" y="5020665"/>
            <a:ext cx="434975" cy="87693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3683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29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320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4240174" y="4042803"/>
            <a:ext cx="492759" cy="738505"/>
          </a:xfrm>
          <a:custGeom>
            <a:avLst/>
            <a:gdLst/>
            <a:ahLst/>
            <a:cxnLst/>
            <a:rect l="l" t="t" r="r" b="b"/>
            <a:pathLst>
              <a:path w="492760" h="738504">
                <a:moveTo>
                  <a:pt x="492257" y="0"/>
                </a:moveTo>
                <a:lnTo>
                  <a:pt x="0" y="0"/>
                </a:lnTo>
                <a:lnTo>
                  <a:pt x="0" y="738479"/>
                </a:lnTo>
                <a:lnTo>
                  <a:pt x="492257" y="738479"/>
                </a:lnTo>
                <a:lnTo>
                  <a:pt x="492257" y="0"/>
                </a:lnTo>
                <a:close/>
              </a:path>
            </a:pathLst>
          </a:custGeom>
          <a:solidFill>
            <a:srgbClr val="7F7F7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4" name="object 24"/>
          <p:cNvGrpSpPr/>
          <p:nvPr/>
        </p:nvGrpSpPr>
        <p:grpSpPr>
          <a:xfrm>
            <a:off x="4254918" y="2104974"/>
            <a:ext cx="7718425" cy="4623435"/>
            <a:chOff x="4254918" y="2104974"/>
            <a:chExt cx="7718425" cy="4623435"/>
          </a:xfrm>
        </p:grpSpPr>
        <p:sp>
          <p:nvSpPr>
            <p:cNvPr id="25" name="object 25"/>
            <p:cNvSpPr/>
            <p:nvPr/>
          </p:nvSpPr>
          <p:spPr>
            <a:xfrm>
              <a:off x="8148497" y="3846982"/>
              <a:ext cx="492759" cy="1061720"/>
            </a:xfrm>
            <a:custGeom>
              <a:avLst/>
              <a:gdLst/>
              <a:ahLst/>
              <a:cxnLst/>
              <a:rect l="l" t="t" r="r" b="b"/>
              <a:pathLst>
                <a:path w="492759" h="1061720">
                  <a:moveTo>
                    <a:pt x="492257" y="0"/>
                  </a:moveTo>
                  <a:lnTo>
                    <a:pt x="0" y="0"/>
                  </a:lnTo>
                  <a:lnTo>
                    <a:pt x="0" y="1061592"/>
                  </a:lnTo>
                  <a:lnTo>
                    <a:pt x="492257" y="1061592"/>
                  </a:lnTo>
                  <a:lnTo>
                    <a:pt x="492257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930102" y="6145479"/>
              <a:ext cx="1043049" cy="582663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4254918" y="2104974"/>
              <a:ext cx="492759" cy="819150"/>
            </a:xfrm>
            <a:custGeom>
              <a:avLst/>
              <a:gdLst/>
              <a:ahLst/>
              <a:cxnLst/>
              <a:rect l="l" t="t" r="r" b="b"/>
              <a:pathLst>
                <a:path w="492760" h="819150">
                  <a:moveTo>
                    <a:pt x="492257" y="0"/>
                  </a:moveTo>
                  <a:lnTo>
                    <a:pt x="0" y="0"/>
                  </a:lnTo>
                  <a:lnTo>
                    <a:pt x="0" y="819023"/>
                  </a:lnTo>
                  <a:lnTo>
                    <a:pt x="492257" y="819023"/>
                  </a:lnTo>
                  <a:lnTo>
                    <a:pt x="492257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4318914" y="4067225"/>
            <a:ext cx="251460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sz="320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333659" y="2129396"/>
            <a:ext cx="251460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3200">
              <a:latin typeface="Arial"/>
              <a:cs typeface="Arial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4237164" y="3048812"/>
            <a:ext cx="492759" cy="819150"/>
          </a:xfrm>
          <a:custGeom>
            <a:avLst/>
            <a:gdLst/>
            <a:ahLst/>
            <a:cxnLst/>
            <a:rect l="l" t="t" r="r" b="b"/>
            <a:pathLst>
              <a:path w="492760" h="819150">
                <a:moveTo>
                  <a:pt x="492257" y="0"/>
                </a:moveTo>
                <a:lnTo>
                  <a:pt x="0" y="0"/>
                </a:lnTo>
                <a:lnTo>
                  <a:pt x="0" y="819023"/>
                </a:lnTo>
                <a:lnTo>
                  <a:pt x="492257" y="819023"/>
                </a:lnTo>
                <a:lnTo>
                  <a:pt x="492257" y="0"/>
                </a:lnTo>
                <a:close/>
              </a:path>
            </a:pathLst>
          </a:custGeom>
          <a:solidFill>
            <a:srgbClr val="7F7F7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4315904" y="3073234"/>
            <a:ext cx="251460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3200">
              <a:latin typeface="Arial"/>
              <a:cs typeface="Arial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4262577" y="4915369"/>
            <a:ext cx="492759" cy="738505"/>
          </a:xfrm>
          <a:custGeom>
            <a:avLst/>
            <a:gdLst/>
            <a:ahLst/>
            <a:cxnLst/>
            <a:rect l="l" t="t" r="r" b="b"/>
            <a:pathLst>
              <a:path w="492760" h="738504">
                <a:moveTo>
                  <a:pt x="492257" y="0"/>
                </a:moveTo>
                <a:lnTo>
                  <a:pt x="0" y="0"/>
                </a:lnTo>
                <a:lnTo>
                  <a:pt x="0" y="738479"/>
                </a:lnTo>
                <a:lnTo>
                  <a:pt x="492257" y="738479"/>
                </a:lnTo>
                <a:lnTo>
                  <a:pt x="492257" y="0"/>
                </a:lnTo>
                <a:close/>
              </a:path>
            </a:pathLst>
          </a:custGeom>
          <a:solidFill>
            <a:srgbClr val="7F7F7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4341317" y="4939791"/>
            <a:ext cx="251460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  <a:endParaRPr sz="3200">
              <a:latin typeface="Arial"/>
              <a:cs typeface="Arial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4237164" y="712525"/>
            <a:ext cx="3782695" cy="458470"/>
          </a:xfrm>
          <a:custGeom>
            <a:avLst/>
            <a:gdLst/>
            <a:ahLst/>
            <a:cxnLst/>
            <a:rect l="l" t="t" r="r" b="b"/>
            <a:pathLst>
              <a:path w="3782695" h="458469">
                <a:moveTo>
                  <a:pt x="3782301" y="0"/>
                </a:moveTo>
                <a:lnTo>
                  <a:pt x="0" y="0"/>
                </a:lnTo>
                <a:lnTo>
                  <a:pt x="0" y="457847"/>
                </a:lnTo>
                <a:lnTo>
                  <a:pt x="3782301" y="457847"/>
                </a:lnTo>
                <a:lnTo>
                  <a:pt x="3782301" y="0"/>
                </a:lnTo>
                <a:close/>
              </a:path>
            </a:pathLst>
          </a:custGeom>
          <a:solidFill>
            <a:srgbClr val="00B0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777244" y="1251318"/>
            <a:ext cx="3331845" cy="4882515"/>
          </a:xfrm>
          <a:custGeom>
            <a:avLst/>
            <a:gdLst/>
            <a:ahLst/>
            <a:cxnLst/>
            <a:rect l="l" t="t" r="r" b="b"/>
            <a:pathLst>
              <a:path w="3331845" h="4882515">
                <a:moveTo>
                  <a:pt x="3331705" y="0"/>
                </a:moveTo>
                <a:lnTo>
                  <a:pt x="0" y="0"/>
                </a:lnTo>
                <a:lnTo>
                  <a:pt x="0" y="4882248"/>
                </a:lnTo>
                <a:lnTo>
                  <a:pt x="3331705" y="4882248"/>
                </a:lnTo>
                <a:lnTo>
                  <a:pt x="3331705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6958024" y="1280579"/>
            <a:ext cx="31242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 dirty="0">
                <a:latin typeface="Arial"/>
                <a:cs typeface="Arial"/>
              </a:rPr>
              <a:t>des</a:t>
            </a:r>
            <a:endParaRPr sz="140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619110" y="1280579"/>
            <a:ext cx="41084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 dirty="0">
                <a:latin typeface="Arial"/>
                <a:cs typeface="Arial"/>
              </a:rPr>
              <a:t>OBC</a:t>
            </a:r>
            <a:endParaRPr sz="1400"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4855984" y="1259243"/>
            <a:ext cx="1753235" cy="4953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0000"/>
              </a:lnSpc>
              <a:spcBef>
                <a:spcPts val="100"/>
              </a:spcBef>
              <a:tabLst>
                <a:tab pos="870585" algn="l"/>
              </a:tabLst>
            </a:pPr>
            <a:r>
              <a:rPr sz="1400" spc="-10" dirty="0">
                <a:latin typeface="Arial"/>
                <a:cs typeface="Arial"/>
              </a:rPr>
              <a:t>Faible</a:t>
            </a:r>
            <a:r>
              <a:rPr sz="1400" dirty="0">
                <a:latin typeface="Arial"/>
                <a:cs typeface="Arial"/>
              </a:rPr>
              <a:t>	</a:t>
            </a:r>
            <a:r>
              <a:rPr sz="1400" spc="-10" dirty="0">
                <a:latin typeface="Arial"/>
                <a:cs typeface="Arial"/>
              </a:rPr>
              <a:t>compténce (Structuration);</a:t>
            </a:r>
            <a:endParaRPr sz="1400"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855984" y="2198026"/>
            <a:ext cx="3174365" cy="7296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10000"/>
              </a:lnSpc>
              <a:spcBef>
                <a:spcPts val="100"/>
              </a:spcBef>
            </a:pPr>
            <a:r>
              <a:rPr sz="1400" dirty="0">
                <a:latin typeface="Arial"/>
                <a:cs typeface="Arial"/>
              </a:rPr>
              <a:t>Retard</a:t>
            </a:r>
            <a:r>
              <a:rPr sz="1400" spc="7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dans</a:t>
            </a:r>
            <a:r>
              <a:rPr sz="1400" spc="7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la</a:t>
            </a:r>
            <a:r>
              <a:rPr sz="1400" spc="7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mise</a:t>
            </a:r>
            <a:r>
              <a:rPr sz="1400" spc="7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en</a:t>
            </a:r>
            <a:r>
              <a:rPr sz="1400" spc="7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œuvre</a:t>
            </a:r>
            <a:r>
              <a:rPr sz="1400" spc="75" dirty="0">
                <a:latin typeface="Arial"/>
                <a:cs typeface="Arial"/>
              </a:rPr>
              <a:t>  </a:t>
            </a:r>
            <a:r>
              <a:rPr sz="1400" spc="-25" dirty="0">
                <a:latin typeface="Arial"/>
                <a:cs typeface="Arial"/>
              </a:rPr>
              <a:t>des </a:t>
            </a:r>
            <a:r>
              <a:rPr sz="1400" dirty="0">
                <a:latin typeface="Arial"/>
                <a:cs typeface="Arial"/>
              </a:rPr>
              <a:t>activités</a:t>
            </a:r>
            <a:r>
              <a:rPr sz="1400" spc="15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conjointes</a:t>
            </a:r>
            <a:r>
              <a:rPr sz="1400" spc="16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(ALIMA</a:t>
            </a:r>
            <a:r>
              <a:rPr sz="1400" spc="16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&amp;</a:t>
            </a:r>
            <a:r>
              <a:rPr sz="1400" spc="155" dirty="0">
                <a:latin typeface="Arial"/>
                <a:cs typeface="Arial"/>
              </a:rPr>
              <a:t>  </a:t>
            </a:r>
            <a:r>
              <a:rPr sz="1400" spc="-20" dirty="0">
                <a:latin typeface="Arial"/>
                <a:cs typeface="Arial"/>
              </a:rPr>
              <a:t>DRS, </a:t>
            </a:r>
            <a:r>
              <a:rPr sz="1400" spc="-10" dirty="0">
                <a:latin typeface="Arial"/>
                <a:cs typeface="Arial"/>
              </a:rPr>
              <a:t>CCM);</a:t>
            </a:r>
            <a:endParaRPr sz="1400"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208355" y="3136811"/>
            <a:ext cx="1821814" cy="4953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4790" marR="5080" indent="-212725">
              <a:lnSpc>
                <a:spcPct val="110000"/>
              </a:lnSpc>
              <a:spcBef>
                <a:spcPts val="100"/>
              </a:spcBef>
              <a:tabLst>
                <a:tab pos="624205" algn="l"/>
                <a:tab pos="710565" algn="l"/>
                <a:tab pos="1087755" algn="l"/>
                <a:tab pos="1511935" algn="l"/>
                <a:tab pos="1610360" algn="l"/>
              </a:tabLst>
            </a:pPr>
            <a:r>
              <a:rPr sz="1400" spc="-10" dirty="0">
                <a:latin typeface="Arial"/>
                <a:cs typeface="Arial"/>
              </a:rPr>
              <a:t>santé</a:t>
            </a:r>
            <a:r>
              <a:rPr sz="1400" dirty="0">
                <a:latin typeface="Arial"/>
                <a:cs typeface="Arial"/>
              </a:rPr>
              <a:t>	</a:t>
            </a:r>
            <a:r>
              <a:rPr sz="1400" spc="-25" dirty="0">
                <a:latin typeface="Arial"/>
                <a:cs typeface="Arial"/>
              </a:rPr>
              <a:t>des</a:t>
            </a:r>
            <a:r>
              <a:rPr sz="1400" dirty="0">
                <a:latin typeface="Arial"/>
                <a:cs typeface="Arial"/>
              </a:rPr>
              <a:t>	</a:t>
            </a:r>
            <a:r>
              <a:rPr sz="1400" spc="-25" dirty="0">
                <a:latin typeface="Arial"/>
                <a:cs typeface="Arial"/>
              </a:rPr>
              <a:t>CS</a:t>
            </a:r>
            <a:r>
              <a:rPr sz="1400" dirty="0">
                <a:latin typeface="Arial"/>
                <a:cs typeface="Arial"/>
              </a:rPr>
              <a:t>	</a:t>
            </a:r>
            <a:r>
              <a:rPr sz="1400" spc="-25" dirty="0">
                <a:latin typeface="Arial"/>
                <a:cs typeface="Arial"/>
              </a:rPr>
              <a:t>peu les</a:t>
            </a:r>
            <a:r>
              <a:rPr sz="1400" dirty="0">
                <a:latin typeface="Arial"/>
                <a:cs typeface="Arial"/>
              </a:rPr>
              <a:t>		</a:t>
            </a:r>
            <a:r>
              <a:rPr sz="1400" spc="-10" dirty="0">
                <a:latin typeface="Arial"/>
                <a:cs typeface="Arial"/>
              </a:rPr>
              <a:t>activités</a:t>
            </a:r>
            <a:r>
              <a:rPr sz="1400" dirty="0">
                <a:latin typeface="Arial"/>
                <a:cs typeface="Arial"/>
              </a:rPr>
              <a:t>		</a:t>
            </a:r>
            <a:r>
              <a:rPr sz="1400" spc="-25" dirty="0">
                <a:latin typeface="Arial"/>
                <a:cs typeface="Arial"/>
              </a:rPr>
              <a:t>de</a:t>
            </a:r>
            <a:endParaRPr sz="140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4855984" y="3136811"/>
            <a:ext cx="1331595" cy="7296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0000"/>
              </a:lnSpc>
              <a:spcBef>
                <a:spcPts val="100"/>
              </a:spcBef>
              <a:tabLst>
                <a:tab pos="932815" algn="l"/>
                <a:tab pos="989965" algn="l"/>
              </a:tabLst>
            </a:pPr>
            <a:r>
              <a:rPr sz="1400" spc="-10" dirty="0">
                <a:latin typeface="Arial"/>
                <a:cs typeface="Arial"/>
              </a:rPr>
              <a:t>Personnel</a:t>
            </a:r>
            <a:r>
              <a:rPr sz="1400" dirty="0">
                <a:latin typeface="Arial"/>
                <a:cs typeface="Arial"/>
              </a:rPr>
              <a:t>		</a:t>
            </a:r>
            <a:r>
              <a:rPr sz="1400" spc="-25" dirty="0">
                <a:latin typeface="Arial"/>
                <a:cs typeface="Arial"/>
              </a:rPr>
              <a:t>de </a:t>
            </a:r>
            <a:r>
              <a:rPr sz="1400" spc="-10" dirty="0">
                <a:latin typeface="Arial"/>
                <a:cs typeface="Arial"/>
              </a:rPr>
              <a:t>impliqué</a:t>
            </a:r>
            <a:r>
              <a:rPr sz="1400" dirty="0">
                <a:latin typeface="Arial"/>
                <a:cs typeface="Arial"/>
              </a:rPr>
              <a:t>	</a:t>
            </a:r>
            <a:r>
              <a:rPr sz="1400" spc="-20" dirty="0">
                <a:latin typeface="Arial"/>
                <a:cs typeface="Arial"/>
              </a:rPr>
              <a:t>dans </a:t>
            </a:r>
            <a:r>
              <a:rPr sz="1400" spc="-10" dirty="0">
                <a:latin typeface="Arial"/>
                <a:cs typeface="Arial"/>
              </a:rPr>
              <a:t>vaccination;</a:t>
            </a:r>
            <a:endParaRPr sz="1400"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4855984" y="3871404"/>
            <a:ext cx="3622675" cy="6991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3729"/>
              </a:lnSpc>
              <a:spcBef>
                <a:spcPts val="100"/>
              </a:spcBef>
              <a:tabLst>
                <a:tab pos="3383279" algn="l"/>
              </a:tabLst>
            </a:pPr>
            <a:r>
              <a:rPr sz="1400" dirty="0">
                <a:latin typeface="Arial"/>
                <a:cs typeface="Arial"/>
              </a:rPr>
              <a:t>Prime</a:t>
            </a:r>
            <a:r>
              <a:rPr sz="1400" spc="4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4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otivation</a:t>
            </a:r>
            <a:r>
              <a:rPr sz="1400" spc="4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jugée</a:t>
            </a:r>
            <a:r>
              <a:rPr sz="1400" spc="45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insuffisant</a:t>
            </a:r>
            <a:r>
              <a:rPr sz="1400" dirty="0">
                <a:latin typeface="Arial"/>
                <a:cs typeface="Arial"/>
              </a:rPr>
              <a:t>	</a:t>
            </a: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3200">
              <a:latin typeface="Arial"/>
              <a:cs typeface="Arial"/>
            </a:endParaRPr>
          </a:p>
          <a:p>
            <a:pPr marL="12700">
              <a:lnSpc>
                <a:spcPts val="1570"/>
              </a:lnSpc>
            </a:pPr>
            <a:r>
              <a:rPr sz="1400" dirty="0">
                <a:latin typeface="Arial"/>
                <a:cs typeface="Arial"/>
              </a:rPr>
              <a:t>par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s </a:t>
            </a:r>
            <a:r>
              <a:rPr sz="1400" spc="-10" dirty="0">
                <a:latin typeface="Arial"/>
                <a:cs typeface="Arial"/>
              </a:rPr>
              <a:t>acteurs;</a:t>
            </a:r>
            <a:endParaRPr sz="1400"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4855984" y="5035715"/>
            <a:ext cx="309689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Arial"/>
                <a:cs typeface="Arial"/>
              </a:rPr>
              <a:t>Insuffisanc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ssource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financières.</a:t>
            </a:r>
            <a:endParaRPr sz="1400">
              <a:latin typeface="Arial"/>
              <a:cs typeface="Arial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4252201" y="1222654"/>
            <a:ext cx="455930" cy="707390"/>
          </a:xfrm>
          <a:custGeom>
            <a:avLst/>
            <a:gdLst/>
            <a:ahLst/>
            <a:cxnLst/>
            <a:rect l="l" t="t" r="r" b="b"/>
            <a:pathLst>
              <a:path w="455929" h="707389">
                <a:moveTo>
                  <a:pt x="455649" y="0"/>
                </a:moveTo>
                <a:lnTo>
                  <a:pt x="0" y="0"/>
                </a:lnTo>
                <a:lnTo>
                  <a:pt x="0" y="707351"/>
                </a:lnTo>
                <a:lnTo>
                  <a:pt x="455649" y="707351"/>
                </a:lnTo>
                <a:lnTo>
                  <a:pt x="455649" y="0"/>
                </a:lnTo>
                <a:close/>
              </a:path>
            </a:pathLst>
          </a:custGeom>
          <a:solidFill>
            <a:srgbClr val="7F7F7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 txBox="1"/>
          <p:nvPr/>
        </p:nvSpPr>
        <p:spPr>
          <a:xfrm>
            <a:off x="4330941" y="1247076"/>
            <a:ext cx="251460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3200">
              <a:latin typeface="Arial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4453803" y="794038"/>
            <a:ext cx="217868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Principaux</a:t>
            </a:r>
            <a:r>
              <a:rPr sz="14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défis</a:t>
            </a:r>
            <a:r>
              <a:rPr sz="14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à</a:t>
            </a:r>
            <a:r>
              <a:rPr sz="14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relever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88455" rIns="0" bIns="0" rtlCol="0">
            <a:spAutoFit/>
          </a:bodyPr>
          <a:lstStyle/>
          <a:p>
            <a:pPr marL="31750" marR="5080">
              <a:lnSpc>
                <a:spcPct val="110000"/>
              </a:lnSpc>
              <a:spcBef>
                <a:spcPts val="100"/>
              </a:spcBef>
            </a:pPr>
            <a:r>
              <a:rPr sz="1800" b="0" dirty="0">
                <a:latin typeface="Arial"/>
                <a:cs typeface="Arial"/>
              </a:rPr>
              <a:t>«</a:t>
            </a:r>
            <a:r>
              <a:rPr sz="1800" b="0" spc="204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Les</a:t>
            </a:r>
            <a:r>
              <a:rPr sz="1800" b="0" spc="2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Mauritaniens</a:t>
            </a:r>
            <a:r>
              <a:rPr sz="1800" b="0" spc="2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sont</a:t>
            </a:r>
            <a:r>
              <a:rPr sz="1800" b="0" spc="2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tellement</a:t>
            </a:r>
            <a:r>
              <a:rPr sz="1800" b="0" spc="2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accueillants</a:t>
            </a:r>
            <a:r>
              <a:rPr sz="1800" b="0" spc="2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qu’ils</a:t>
            </a:r>
            <a:r>
              <a:rPr sz="1800" b="0" spc="2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n’hésitent</a:t>
            </a:r>
            <a:r>
              <a:rPr sz="1800" b="0" spc="2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pas</a:t>
            </a:r>
            <a:r>
              <a:rPr sz="1800" b="0" spc="2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à</a:t>
            </a:r>
            <a:r>
              <a:rPr sz="1800" b="0" spc="2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dénuder</a:t>
            </a:r>
            <a:r>
              <a:rPr sz="1800" b="0" spc="2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un</a:t>
            </a:r>
            <a:r>
              <a:rPr sz="1800" b="0" spc="2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bras</a:t>
            </a:r>
            <a:r>
              <a:rPr sz="1800" b="0" spc="2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ou</a:t>
            </a:r>
            <a:r>
              <a:rPr sz="1800" b="0" spc="2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une</a:t>
            </a:r>
            <a:r>
              <a:rPr sz="1800" b="0" spc="220" dirty="0">
                <a:latin typeface="Arial"/>
                <a:cs typeface="Arial"/>
              </a:rPr>
              <a:t> </a:t>
            </a:r>
            <a:r>
              <a:rPr sz="1800" b="0" spc="-10" dirty="0">
                <a:latin typeface="Arial"/>
                <a:cs typeface="Arial"/>
              </a:rPr>
              <a:t>jambe </a:t>
            </a:r>
            <a:r>
              <a:rPr sz="1800" b="0" dirty="0">
                <a:latin typeface="Arial"/>
                <a:cs typeface="Arial"/>
              </a:rPr>
              <a:t>d’un</a:t>
            </a:r>
            <a:r>
              <a:rPr sz="1800" b="0" spc="-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enfant</a:t>
            </a:r>
            <a:r>
              <a:rPr sz="1800" b="0" spc="-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pour</a:t>
            </a:r>
            <a:r>
              <a:rPr sz="1800" b="0" spc="-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qu’il</a:t>
            </a:r>
            <a:r>
              <a:rPr sz="1800" b="0" spc="-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reçoive</a:t>
            </a:r>
            <a:r>
              <a:rPr sz="1800" b="0" spc="-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un</a:t>
            </a:r>
            <a:r>
              <a:rPr sz="1800" b="0" spc="-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vaccin,</a:t>
            </a:r>
            <a:r>
              <a:rPr sz="1800" b="0" spc="-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à</a:t>
            </a:r>
            <a:r>
              <a:rPr sz="1800" b="0" spc="-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condition</a:t>
            </a:r>
            <a:r>
              <a:rPr sz="1800" b="0" spc="-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que</a:t>
            </a:r>
            <a:r>
              <a:rPr sz="1800" b="0" spc="-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quelqu’un</a:t>
            </a:r>
            <a:r>
              <a:rPr sz="1800" b="0" spc="-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fasse</a:t>
            </a:r>
            <a:r>
              <a:rPr sz="1800" b="0" spc="-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l’effort</a:t>
            </a:r>
            <a:r>
              <a:rPr sz="1800" b="0" spc="-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de</a:t>
            </a:r>
            <a:r>
              <a:rPr sz="1800" b="0" spc="-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venir</a:t>
            </a:r>
            <a:r>
              <a:rPr sz="1800" b="0" spc="-20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jusqu’à</a:t>
            </a:r>
            <a:r>
              <a:rPr sz="1800" b="0" spc="-15" dirty="0">
                <a:latin typeface="Arial"/>
                <a:cs typeface="Arial"/>
              </a:rPr>
              <a:t> </a:t>
            </a:r>
            <a:r>
              <a:rPr sz="1800" b="0" dirty="0">
                <a:latin typeface="Arial"/>
                <a:cs typeface="Arial"/>
              </a:rPr>
              <a:t>eux.</a:t>
            </a:r>
            <a:r>
              <a:rPr sz="1800" b="0" spc="-15" dirty="0">
                <a:latin typeface="Arial"/>
                <a:cs typeface="Arial"/>
              </a:rPr>
              <a:t> </a:t>
            </a:r>
            <a:r>
              <a:rPr sz="1800" b="0" spc="-50" dirty="0">
                <a:latin typeface="Arial"/>
                <a:cs typeface="Arial"/>
              </a:rPr>
              <a:t>»</a:t>
            </a:r>
            <a:endParaRPr sz="18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59300" y="6334683"/>
            <a:ext cx="81915" cy="147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50" dirty="0">
                <a:solidFill>
                  <a:srgbClr val="8C8C8C"/>
                </a:solidFill>
                <a:latin typeface="Arial"/>
                <a:cs typeface="Arial"/>
              </a:rPr>
              <a:t>6</a:t>
            </a:r>
            <a:endParaRPr sz="8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166236" y="4031068"/>
            <a:ext cx="149733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b="1" spc="-10" dirty="0">
                <a:solidFill>
                  <a:srgbClr val="005BB8"/>
                </a:solidFill>
                <a:latin typeface="Arial"/>
                <a:cs typeface="Arial"/>
              </a:rPr>
              <a:t>MERCI</a:t>
            </a:r>
            <a:endParaRPr sz="3600">
              <a:latin typeface="Arial"/>
              <a:cs typeface="Arial"/>
            </a:endParaRPr>
          </a:p>
        </p:txBody>
      </p:sp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999662" y="149200"/>
            <a:ext cx="773336" cy="55937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974260" y="66146"/>
            <a:ext cx="871804" cy="725487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28741" y="66146"/>
            <a:ext cx="970385" cy="530072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31545" y="3302000"/>
            <a:ext cx="12060555" cy="3556000"/>
          </a:xfrm>
          <a:custGeom>
            <a:avLst/>
            <a:gdLst/>
            <a:ahLst/>
            <a:cxnLst/>
            <a:rect l="l" t="t" r="r" b="b"/>
            <a:pathLst>
              <a:path w="12060555" h="3556000">
                <a:moveTo>
                  <a:pt x="0" y="3556000"/>
                </a:moveTo>
                <a:lnTo>
                  <a:pt x="12060454" y="3556000"/>
                </a:lnTo>
                <a:lnTo>
                  <a:pt x="12060454" y="0"/>
                </a:lnTo>
                <a:lnTo>
                  <a:pt x="0" y="0"/>
                </a:lnTo>
                <a:lnTo>
                  <a:pt x="0" y="3556000"/>
                </a:lnTo>
                <a:close/>
              </a:path>
            </a:pathLst>
          </a:custGeom>
          <a:solidFill>
            <a:srgbClr val="0070B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31545" y="0"/>
            <a:ext cx="12060555" cy="2378075"/>
          </a:xfrm>
          <a:custGeom>
            <a:avLst/>
            <a:gdLst/>
            <a:ahLst/>
            <a:cxnLst/>
            <a:rect l="l" t="t" r="r" b="b"/>
            <a:pathLst>
              <a:path w="12060555" h="2378075">
                <a:moveTo>
                  <a:pt x="0" y="2377833"/>
                </a:moveTo>
                <a:lnTo>
                  <a:pt x="12060454" y="2377833"/>
                </a:lnTo>
                <a:lnTo>
                  <a:pt x="12060454" y="0"/>
                </a:lnTo>
                <a:lnTo>
                  <a:pt x="0" y="0"/>
                </a:lnTo>
                <a:lnTo>
                  <a:pt x="0" y="2377833"/>
                </a:lnTo>
                <a:close/>
              </a:path>
            </a:pathLst>
          </a:custGeom>
          <a:solidFill>
            <a:srgbClr val="0070B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3302000"/>
            <a:ext cx="132080" cy="3556000"/>
          </a:xfrm>
          <a:custGeom>
            <a:avLst/>
            <a:gdLst/>
            <a:ahLst/>
            <a:cxnLst/>
            <a:rect l="l" t="t" r="r" b="b"/>
            <a:pathLst>
              <a:path w="132080" h="3556000">
                <a:moveTo>
                  <a:pt x="0" y="3556000"/>
                </a:moveTo>
                <a:lnTo>
                  <a:pt x="131545" y="3556000"/>
                </a:lnTo>
                <a:lnTo>
                  <a:pt x="131545" y="0"/>
                </a:lnTo>
                <a:lnTo>
                  <a:pt x="0" y="0"/>
                </a:lnTo>
                <a:lnTo>
                  <a:pt x="0" y="3556000"/>
                </a:lnTo>
                <a:close/>
              </a:path>
            </a:pathLst>
          </a:custGeom>
          <a:solidFill>
            <a:srgbClr val="005B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0"/>
            <a:ext cx="132080" cy="2378075"/>
          </a:xfrm>
          <a:custGeom>
            <a:avLst/>
            <a:gdLst/>
            <a:ahLst/>
            <a:cxnLst/>
            <a:rect l="l" t="t" r="r" b="b"/>
            <a:pathLst>
              <a:path w="132080" h="2378075">
                <a:moveTo>
                  <a:pt x="0" y="2377833"/>
                </a:moveTo>
                <a:lnTo>
                  <a:pt x="131545" y="2377833"/>
                </a:lnTo>
                <a:lnTo>
                  <a:pt x="131545" y="0"/>
                </a:lnTo>
                <a:lnTo>
                  <a:pt x="0" y="0"/>
                </a:lnTo>
                <a:lnTo>
                  <a:pt x="0" y="2377833"/>
                </a:lnTo>
                <a:close/>
              </a:path>
            </a:pathLst>
          </a:custGeom>
          <a:solidFill>
            <a:srgbClr val="005B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15937" y="6293459"/>
            <a:ext cx="10020300" cy="0"/>
          </a:xfrm>
          <a:custGeom>
            <a:avLst/>
            <a:gdLst/>
            <a:ahLst/>
            <a:cxnLst/>
            <a:rect l="l" t="t" r="r" b="b"/>
            <a:pathLst>
              <a:path w="10020300">
                <a:moveTo>
                  <a:pt x="0" y="0"/>
                </a:moveTo>
                <a:lnTo>
                  <a:pt x="10019792" y="0"/>
                </a:lnTo>
              </a:path>
            </a:pathLst>
          </a:custGeom>
          <a:ln w="6349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633506" y="6109970"/>
            <a:ext cx="1036775" cy="381647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503237" y="6352895"/>
            <a:ext cx="81915" cy="147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50" dirty="0">
                <a:solidFill>
                  <a:srgbClr val="7F7F7F"/>
                </a:solidFill>
                <a:latin typeface="Arial"/>
                <a:cs typeface="Arial"/>
              </a:rPr>
              <a:t>1</a:t>
            </a:r>
            <a:endParaRPr sz="8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0" y="2377833"/>
            <a:ext cx="12192000" cy="924560"/>
          </a:xfrm>
          <a:custGeom>
            <a:avLst/>
            <a:gdLst/>
            <a:ahLst/>
            <a:cxnLst/>
            <a:rect l="l" t="t" r="r" b="b"/>
            <a:pathLst>
              <a:path w="12192000" h="924560">
                <a:moveTo>
                  <a:pt x="12192000" y="0"/>
                </a:moveTo>
                <a:lnTo>
                  <a:pt x="0" y="0"/>
                </a:lnTo>
                <a:lnTo>
                  <a:pt x="0" y="924166"/>
                </a:lnTo>
                <a:lnTo>
                  <a:pt x="12192000" y="924166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944887" y="2446591"/>
            <a:ext cx="10300335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2279015" algn="l"/>
                <a:tab pos="4358640" algn="l"/>
                <a:tab pos="5692775" algn="l"/>
                <a:tab pos="7834630" algn="l"/>
              </a:tabLst>
            </a:pPr>
            <a:r>
              <a:rPr sz="4400" b="1" spc="-10" dirty="0">
                <a:solidFill>
                  <a:srgbClr val="005BB8"/>
                </a:solidFill>
                <a:latin typeface="Arial"/>
                <a:cs typeface="Arial"/>
              </a:rPr>
              <a:t>SIERRA</a:t>
            </a:r>
            <a:r>
              <a:rPr sz="4400" b="1" dirty="0">
                <a:solidFill>
                  <a:srgbClr val="005BB8"/>
                </a:solidFill>
                <a:latin typeface="Arial"/>
                <a:cs typeface="Arial"/>
              </a:rPr>
              <a:t>	</a:t>
            </a:r>
            <a:r>
              <a:rPr sz="4400" b="1" spc="-10" dirty="0">
                <a:solidFill>
                  <a:srgbClr val="005BB8"/>
                </a:solidFill>
                <a:latin typeface="Arial"/>
                <a:cs typeface="Arial"/>
              </a:rPr>
              <a:t>LEONE</a:t>
            </a:r>
            <a:r>
              <a:rPr sz="4400" b="1" dirty="0">
                <a:solidFill>
                  <a:srgbClr val="005BB8"/>
                </a:solidFill>
                <a:latin typeface="Arial"/>
                <a:cs typeface="Arial"/>
              </a:rPr>
              <a:t>	</a:t>
            </a:r>
            <a:r>
              <a:rPr sz="4400" b="1" spc="-25" dirty="0">
                <a:solidFill>
                  <a:srgbClr val="005BB8"/>
                </a:solidFill>
                <a:latin typeface="Arial"/>
                <a:cs typeface="Arial"/>
              </a:rPr>
              <a:t>RED</a:t>
            </a:r>
            <a:r>
              <a:rPr sz="4400" b="1" dirty="0">
                <a:solidFill>
                  <a:srgbClr val="005BB8"/>
                </a:solidFill>
                <a:latin typeface="Arial"/>
                <a:cs typeface="Arial"/>
              </a:rPr>
              <a:t>	</a:t>
            </a:r>
            <a:r>
              <a:rPr sz="4400" b="1" spc="-10" dirty="0">
                <a:solidFill>
                  <a:srgbClr val="005BB8"/>
                </a:solidFill>
                <a:latin typeface="Arial"/>
                <a:cs typeface="Arial"/>
              </a:rPr>
              <a:t>CROSS</a:t>
            </a:r>
            <a:r>
              <a:rPr sz="4400" b="1" dirty="0">
                <a:solidFill>
                  <a:srgbClr val="005BB8"/>
                </a:solidFill>
                <a:latin typeface="Arial"/>
                <a:cs typeface="Arial"/>
              </a:rPr>
              <a:t>	</a:t>
            </a:r>
            <a:r>
              <a:rPr sz="4400" b="1" spc="-10" dirty="0">
                <a:solidFill>
                  <a:srgbClr val="005BB8"/>
                </a:solidFill>
                <a:latin typeface="Arial"/>
                <a:cs typeface="Arial"/>
              </a:rPr>
              <a:t>SOCIETY</a:t>
            </a:r>
            <a:endParaRPr sz="44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04382" y="3655974"/>
            <a:ext cx="4168140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  <a:tabLst>
                <a:tab pos="1062355" algn="l"/>
                <a:tab pos="1436370" algn="l"/>
                <a:tab pos="2425700" algn="l"/>
                <a:tab pos="3286760" algn="l"/>
              </a:tabLst>
            </a:pP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P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spc="-1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spc="-1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50" dirty="0">
                <a:solidFill>
                  <a:srgbClr val="FFFFFF"/>
                </a:solidFill>
                <a:latin typeface="Arial"/>
                <a:cs typeface="Arial"/>
              </a:rPr>
              <a:t>: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	S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50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	A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b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50" dirty="0">
                <a:solidFill>
                  <a:srgbClr val="FFFFFF"/>
                </a:solidFill>
                <a:latin typeface="Arial"/>
                <a:cs typeface="Arial"/>
              </a:rPr>
              <a:t>l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	N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b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50" dirty="0">
                <a:solidFill>
                  <a:srgbClr val="FFFFFF"/>
                </a:solidFill>
                <a:latin typeface="Arial"/>
                <a:cs typeface="Arial"/>
              </a:rPr>
              <a:t>u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P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j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5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	C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600" b="1" spc="-1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5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endParaRPr sz="1600">
              <a:latin typeface="Arial"/>
              <a:cs typeface="Arial"/>
            </a:endParaRPr>
          </a:p>
        </p:txBody>
      </p:sp>
      <p:pic>
        <p:nvPicPr>
          <p:cNvPr id="12" name="object 1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972" y="3390"/>
            <a:ext cx="1281557" cy="854709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1330609" y="0"/>
            <a:ext cx="858343" cy="85810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476834" y="1327150"/>
            <a:ext cx="2554605" cy="4996180"/>
            <a:chOff x="476834" y="1327150"/>
            <a:chExt cx="2554605" cy="4996180"/>
          </a:xfrm>
        </p:grpSpPr>
        <p:sp>
          <p:nvSpPr>
            <p:cNvPr id="3" name="object 3"/>
            <p:cNvSpPr/>
            <p:nvPr/>
          </p:nvSpPr>
          <p:spPr>
            <a:xfrm>
              <a:off x="476834" y="1327150"/>
              <a:ext cx="2554605" cy="4996180"/>
            </a:xfrm>
            <a:custGeom>
              <a:avLst/>
              <a:gdLst/>
              <a:ahLst/>
              <a:cxnLst/>
              <a:rect l="l" t="t" r="r" b="b"/>
              <a:pathLst>
                <a:path w="2554605" h="4996180">
                  <a:moveTo>
                    <a:pt x="2554122" y="0"/>
                  </a:moveTo>
                  <a:lnTo>
                    <a:pt x="0" y="0"/>
                  </a:lnTo>
                  <a:lnTo>
                    <a:pt x="0" y="4995621"/>
                  </a:lnTo>
                  <a:lnTo>
                    <a:pt x="2554122" y="4995621"/>
                  </a:lnTo>
                  <a:lnTo>
                    <a:pt x="2554122" y="0"/>
                  </a:lnTo>
                  <a:close/>
                </a:path>
              </a:pathLst>
            </a:cu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619978" y="1940648"/>
              <a:ext cx="2268220" cy="4214495"/>
            </a:xfrm>
            <a:custGeom>
              <a:avLst/>
              <a:gdLst/>
              <a:ahLst/>
              <a:cxnLst/>
              <a:rect l="l" t="t" r="r" b="b"/>
              <a:pathLst>
                <a:path w="2268220" h="4214495">
                  <a:moveTo>
                    <a:pt x="2267839" y="0"/>
                  </a:moveTo>
                  <a:lnTo>
                    <a:pt x="0" y="0"/>
                  </a:lnTo>
                  <a:lnTo>
                    <a:pt x="0" y="4214088"/>
                  </a:lnTo>
                  <a:lnTo>
                    <a:pt x="2267839" y="4214088"/>
                  </a:lnTo>
                  <a:lnTo>
                    <a:pt x="226783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892998" y="564841"/>
            <a:ext cx="9024620" cy="604520"/>
          </a:xfrm>
          <a:prstGeom prst="rect">
            <a:avLst/>
          </a:prstGeom>
        </p:spPr>
        <p:txBody>
          <a:bodyPr vert="horz" wrap="square" lIns="0" tIns="46990" rIns="0" bIns="0" rtlCol="0">
            <a:spAutoFit/>
          </a:bodyPr>
          <a:lstStyle/>
          <a:p>
            <a:pPr marL="12700" marR="5080">
              <a:lnSpc>
                <a:spcPts val="2160"/>
              </a:lnSpc>
              <a:spcBef>
                <a:spcPts val="370"/>
              </a:spcBef>
            </a:pPr>
            <a:r>
              <a:rPr dirty="0"/>
              <a:t>SLRCS–</a:t>
            </a:r>
            <a:r>
              <a:rPr spc="-40" dirty="0"/>
              <a:t> </a:t>
            </a:r>
            <a:r>
              <a:rPr dirty="0"/>
              <a:t>contribute</a:t>
            </a:r>
            <a:r>
              <a:rPr spc="-35" dirty="0"/>
              <a:t> </a:t>
            </a:r>
            <a:r>
              <a:rPr dirty="0"/>
              <a:t>to</a:t>
            </a:r>
            <a:r>
              <a:rPr spc="-35" dirty="0"/>
              <a:t> </a:t>
            </a:r>
            <a:r>
              <a:rPr dirty="0"/>
              <a:t>the</a:t>
            </a:r>
            <a:r>
              <a:rPr spc="-35" dirty="0"/>
              <a:t> </a:t>
            </a:r>
            <a:r>
              <a:rPr dirty="0"/>
              <a:t>reduction</a:t>
            </a:r>
            <a:r>
              <a:rPr spc="-40" dirty="0"/>
              <a:t> </a:t>
            </a:r>
            <a:r>
              <a:rPr dirty="0"/>
              <a:t>of</a:t>
            </a:r>
            <a:r>
              <a:rPr spc="-35" dirty="0"/>
              <a:t> </a:t>
            </a:r>
            <a:r>
              <a:rPr dirty="0"/>
              <a:t>the</a:t>
            </a:r>
            <a:r>
              <a:rPr spc="-35" dirty="0"/>
              <a:t> </a:t>
            </a:r>
            <a:r>
              <a:rPr dirty="0"/>
              <a:t>number</a:t>
            </a:r>
            <a:r>
              <a:rPr spc="-35" dirty="0"/>
              <a:t> </a:t>
            </a:r>
            <a:r>
              <a:rPr dirty="0"/>
              <a:t>of</a:t>
            </a:r>
            <a:r>
              <a:rPr spc="-40" dirty="0"/>
              <a:t> </a:t>
            </a:r>
            <a:r>
              <a:rPr spc="-10" dirty="0"/>
              <a:t>zero-</a:t>
            </a:r>
            <a:r>
              <a:rPr dirty="0"/>
              <a:t>dose</a:t>
            </a:r>
            <a:r>
              <a:rPr spc="-35" dirty="0"/>
              <a:t> </a:t>
            </a:r>
            <a:r>
              <a:rPr dirty="0"/>
              <a:t>children</a:t>
            </a:r>
            <a:r>
              <a:rPr spc="-45" dirty="0"/>
              <a:t> </a:t>
            </a:r>
            <a:r>
              <a:rPr spc="-25" dirty="0"/>
              <a:t>in </a:t>
            </a:r>
            <a:r>
              <a:rPr dirty="0"/>
              <a:t>collaboration</a:t>
            </a:r>
            <a:r>
              <a:rPr spc="-30" dirty="0"/>
              <a:t> </a:t>
            </a:r>
            <a:r>
              <a:rPr dirty="0"/>
              <a:t>with</a:t>
            </a:r>
            <a:r>
              <a:rPr spc="-30" dirty="0"/>
              <a:t> </a:t>
            </a:r>
            <a:r>
              <a:rPr dirty="0"/>
              <a:t>community</a:t>
            </a:r>
            <a:r>
              <a:rPr spc="-30" dirty="0"/>
              <a:t> </a:t>
            </a:r>
            <a:r>
              <a:rPr dirty="0"/>
              <a:t>actors</a:t>
            </a:r>
            <a:r>
              <a:rPr spc="-30" dirty="0"/>
              <a:t> </a:t>
            </a:r>
            <a:r>
              <a:rPr dirty="0"/>
              <a:t>in</a:t>
            </a:r>
            <a:r>
              <a:rPr spc="-30" dirty="0"/>
              <a:t> </a:t>
            </a:r>
            <a:r>
              <a:rPr dirty="0"/>
              <a:t>Five</a:t>
            </a:r>
            <a:r>
              <a:rPr spc="-30" dirty="0"/>
              <a:t> </a:t>
            </a:r>
            <a:r>
              <a:rPr dirty="0"/>
              <a:t>Districts</a:t>
            </a:r>
            <a:r>
              <a:rPr spc="-30" dirty="0"/>
              <a:t> </a:t>
            </a:r>
            <a:r>
              <a:rPr dirty="0"/>
              <a:t>in</a:t>
            </a:r>
            <a:r>
              <a:rPr spc="-30" dirty="0"/>
              <a:t> </a:t>
            </a:r>
            <a:r>
              <a:rPr dirty="0"/>
              <a:t>Sierra</a:t>
            </a:r>
            <a:r>
              <a:rPr spc="-30" dirty="0"/>
              <a:t> </a:t>
            </a:r>
            <a:r>
              <a:rPr spc="-10" dirty="0"/>
              <a:t>Leone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691551" y="1377835"/>
            <a:ext cx="2268220" cy="458470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95885" rIns="0" bIns="0" rtlCol="0">
            <a:spAutoFit/>
          </a:bodyPr>
          <a:lstStyle/>
          <a:p>
            <a:pPr marL="78105">
              <a:lnSpc>
                <a:spcPct val="100000"/>
              </a:lnSpc>
              <a:spcBef>
                <a:spcPts val="755"/>
              </a:spcBef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Overview</a:t>
            </a:r>
            <a:endParaRPr sz="14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19978" y="1940648"/>
            <a:ext cx="2268220" cy="421449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91770" marR="695325">
              <a:lnSpc>
                <a:spcPct val="110000"/>
              </a:lnSpc>
              <a:spcBef>
                <a:spcPts val="85"/>
              </a:spcBef>
            </a:pPr>
            <a:r>
              <a:rPr sz="1400" b="1" spc="-10" dirty="0">
                <a:latin typeface="Arial"/>
                <a:cs typeface="Arial"/>
              </a:rPr>
              <a:t>Intervention area:</a:t>
            </a:r>
            <a:r>
              <a:rPr sz="1400" b="1" spc="50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munity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evel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685"/>
              </a:spcBef>
            </a:pPr>
            <a:endParaRPr sz="1400">
              <a:latin typeface="Arial"/>
              <a:cs typeface="Arial"/>
            </a:endParaRPr>
          </a:p>
          <a:p>
            <a:pPr marL="208279" marR="727710">
              <a:lnSpc>
                <a:spcPct val="110000"/>
              </a:lnSpc>
            </a:pPr>
            <a:r>
              <a:rPr sz="1400" b="1" dirty="0">
                <a:latin typeface="Arial"/>
                <a:cs typeface="Arial"/>
              </a:rPr>
              <a:t>Location: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Sierra Leone</a:t>
            </a:r>
            <a:endParaRPr sz="1400">
              <a:latin typeface="Arial"/>
              <a:cs typeface="Arial"/>
            </a:endParaRPr>
          </a:p>
          <a:p>
            <a:pPr marL="208279" marR="1113790">
              <a:lnSpc>
                <a:spcPct val="110000"/>
              </a:lnSpc>
              <a:spcBef>
                <a:spcPts val="1255"/>
              </a:spcBef>
            </a:pPr>
            <a:r>
              <a:rPr sz="1400" b="1" spc="-10" dirty="0">
                <a:latin typeface="Arial"/>
                <a:cs typeface="Arial"/>
              </a:rPr>
              <a:t>Investment amount:</a:t>
            </a:r>
            <a:endParaRPr sz="1400">
              <a:latin typeface="Arial"/>
              <a:cs typeface="Arial"/>
            </a:endParaRPr>
          </a:p>
          <a:p>
            <a:pPr marL="208279">
              <a:lnSpc>
                <a:spcPct val="100000"/>
              </a:lnSpc>
              <a:spcBef>
                <a:spcPts val="165"/>
              </a:spcBef>
            </a:pPr>
            <a:r>
              <a:rPr sz="1400" dirty="0">
                <a:latin typeface="Arial"/>
                <a:cs typeface="Arial"/>
              </a:rPr>
              <a:t>$ </a:t>
            </a:r>
            <a:r>
              <a:rPr sz="1400" spc="-10" dirty="0">
                <a:latin typeface="Arial"/>
                <a:cs typeface="Arial"/>
              </a:rPr>
              <a:t>630,253.46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775"/>
              </a:spcBef>
            </a:pPr>
            <a:endParaRPr sz="1400">
              <a:latin typeface="Arial"/>
              <a:cs typeface="Arial"/>
            </a:endParaRPr>
          </a:p>
          <a:p>
            <a:pPr marL="208279" marR="1142365">
              <a:lnSpc>
                <a:spcPct val="110000"/>
              </a:lnSpc>
              <a:spcBef>
                <a:spcPts val="5"/>
              </a:spcBef>
            </a:pPr>
            <a:r>
              <a:rPr sz="1400" b="1" spc="-10" dirty="0">
                <a:latin typeface="Arial"/>
                <a:cs typeface="Arial"/>
              </a:rPr>
              <a:t>Project duration: </a:t>
            </a:r>
            <a:r>
              <a:rPr sz="1400" dirty="0">
                <a:latin typeface="Arial"/>
                <a:cs typeface="Arial"/>
              </a:rPr>
              <a:t>Sept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2024–</a:t>
            </a:r>
            <a:endParaRPr sz="1400">
              <a:latin typeface="Arial"/>
              <a:cs typeface="Arial"/>
            </a:endParaRPr>
          </a:p>
          <a:p>
            <a:pPr marL="208279">
              <a:lnSpc>
                <a:spcPct val="100000"/>
              </a:lnSpc>
              <a:spcBef>
                <a:spcPts val="165"/>
              </a:spcBef>
            </a:pPr>
            <a:r>
              <a:rPr sz="1400" dirty="0">
                <a:latin typeface="Arial"/>
                <a:cs typeface="Arial"/>
              </a:rPr>
              <a:t>Dec </a:t>
            </a:r>
            <a:r>
              <a:rPr sz="1400" spc="-20" dirty="0">
                <a:latin typeface="Arial"/>
                <a:cs typeface="Arial"/>
              </a:rPr>
              <a:t>2025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159442" y="1328966"/>
            <a:ext cx="8354695" cy="4996180"/>
          </a:xfrm>
          <a:custGeom>
            <a:avLst/>
            <a:gdLst/>
            <a:ahLst/>
            <a:cxnLst/>
            <a:rect l="l" t="t" r="r" b="b"/>
            <a:pathLst>
              <a:path w="8354695" h="4996180">
                <a:moveTo>
                  <a:pt x="8354326" y="0"/>
                </a:moveTo>
                <a:lnTo>
                  <a:pt x="0" y="0"/>
                </a:lnTo>
                <a:lnTo>
                  <a:pt x="0" y="4995621"/>
                </a:lnTo>
                <a:lnTo>
                  <a:pt x="8354326" y="4995621"/>
                </a:lnTo>
                <a:lnTo>
                  <a:pt x="8354326" y="0"/>
                </a:lnTo>
                <a:close/>
              </a:path>
            </a:pathLst>
          </a:custGeom>
          <a:solidFill>
            <a:srgbClr val="F0F9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3233813" y="1387652"/>
            <a:ext cx="8069580" cy="458470"/>
          </a:xfrm>
          <a:prstGeom prst="rect">
            <a:avLst/>
          </a:prstGeom>
          <a:solidFill>
            <a:srgbClr val="0070BF"/>
          </a:solidFill>
        </p:spPr>
        <p:txBody>
          <a:bodyPr vert="horz" wrap="square" lIns="0" tIns="94615" rIns="0" bIns="0" rtlCol="0">
            <a:spAutoFit/>
          </a:bodyPr>
          <a:lstStyle/>
          <a:p>
            <a:pPr marL="138430">
              <a:lnSpc>
                <a:spcPct val="100000"/>
              </a:lnSpc>
              <a:spcBef>
                <a:spcPts val="74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Project</a:t>
            </a:r>
            <a:r>
              <a:rPr sz="14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Descrip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235562" y="3741839"/>
            <a:ext cx="6067425" cy="1877695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41910" rIns="0" bIns="0" rtlCol="0">
            <a:spAutoFit/>
          </a:bodyPr>
          <a:lstStyle/>
          <a:p>
            <a:pPr marL="90805" marR="170815">
              <a:lnSpc>
                <a:spcPct val="100000"/>
              </a:lnSpc>
              <a:spcBef>
                <a:spcPts val="330"/>
              </a:spcBef>
            </a:pPr>
            <a:r>
              <a:rPr sz="1400" dirty="0">
                <a:latin typeface="Arial"/>
                <a:cs typeface="Arial"/>
              </a:rPr>
              <a:t>SLRCS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working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with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ocal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ranche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iv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istrict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upport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the </a:t>
            </a:r>
            <a:r>
              <a:rPr sz="1400" dirty="0">
                <a:latin typeface="Arial"/>
                <a:cs typeface="Arial"/>
              </a:rPr>
              <a:t>identificatio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vaccinatio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f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zero-</a:t>
            </a:r>
            <a:r>
              <a:rPr sz="1400" dirty="0">
                <a:latin typeface="Arial"/>
                <a:cs typeface="Arial"/>
              </a:rPr>
              <a:t>dos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under-</a:t>
            </a:r>
            <a:r>
              <a:rPr sz="1400" dirty="0">
                <a:latin typeface="Arial"/>
                <a:cs typeface="Arial"/>
              </a:rPr>
              <a:t>immunize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children.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40"/>
              </a:spcBef>
            </a:pPr>
            <a:endParaRPr sz="1400">
              <a:latin typeface="Arial"/>
              <a:cs typeface="Arial"/>
            </a:endParaRPr>
          </a:p>
          <a:p>
            <a:pPr marL="90805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This effort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s </a:t>
            </a:r>
            <a:r>
              <a:rPr sz="1400" spc="-10" dirty="0">
                <a:latin typeface="Arial"/>
                <a:cs typeface="Arial"/>
              </a:rPr>
              <a:t>community-</a:t>
            </a:r>
            <a:r>
              <a:rPr sz="1400" dirty="0">
                <a:latin typeface="Arial"/>
                <a:cs typeface="Arial"/>
              </a:rPr>
              <a:t>driven, </a:t>
            </a:r>
            <a:r>
              <a:rPr sz="1400" spc="-10" dirty="0">
                <a:latin typeface="Arial"/>
                <a:cs typeface="Arial"/>
              </a:rPr>
              <a:t>engaging</a:t>
            </a:r>
            <a:endParaRPr sz="1400">
              <a:latin typeface="Arial"/>
              <a:cs typeface="Arial"/>
            </a:endParaRPr>
          </a:p>
          <a:p>
            <a:pPr marL="376555" indent="-285750">
              <a:lnSpc>
                <a:spcPct val="100000"/>
              </a:lnSpc>
              <a:buChar char="•"/>
              <a:tabLst>
                <a:tab pos="376555" algn="l"/>
              </a:tabLst>
            </a:pPr>
            <a:r>
              <a:rPr sz="1400" dirty="0">
                <a:latin typeface="Arial"/>
                <a:cs typeface="Arial"/>
              </a:rPr>
              <a:t>Community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ealth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Worker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(CHWs),</a:t>
            </a:r>
            <a:endParaRPr sz="1400">
              <a:latin typeface="Arial"/>
              <a:cs typeface="Arial"/>
            </a:endParaRPr>
          </a:p>
          <a:p>
            <a:pPr marL="376555" indent="-285750">
              <a:lnSpc>
                <a:spcPct val="100000"/>
              </a:lnSpc>
              <a:buChar char="•"/>
              <a:tabLst>
                <a:tab pos="376555" algn="l"/>
              </a:tabLst>
            </a:pPr>
            <a:r>
              <a:rPr sz="1400" dirty="0">
                <a:latin typeface="Arial"/>
                <a:cs typeface="Arial"/>
              </a:rPr>
              <a:t>Red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ross</a:t>
            </a:r>
            <a:r>
              <a:rPr sz="1400" spc="1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community-</a:t>
            </a:r>
            <a:r>
              <a:rPr sz="1400" dirty="0">
                <a:latin typeface="Arial"/>
                <a:cs typeface="Arial"/>
              </a:rPr>
              <a:t>based</a:t>
            </a:r>
            <a:r>
              <a:rPr sz="1400" spc="1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volunteers,</a:t>
            </a:r>
            <a:endParaRPr sz="1400">
              <a:latin typeface="Arial"/>
              <a:cs typeface="Arial"/>
            </a:endParaRPr>
          </a:p>
          <a:p>
            <a:pPr marL="376555" indent="-285750">
              <a:lnSpc>
                <a:spcPct val="100000"/>
              </a:lnSpc>
              <a:buChar char="•"/>
              <a:tabLst>
                <a:tab pos="376555" algn="l"/>
              </a:tabLst>
            </a:pPr>
            <a:r>
              <a:rPr sz="1400" dirty="0">
                <a:latin typeface="Arial"/>
                <a:cs typeface="Arial"/>
              </a:rPr>
              <a:t>local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ader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t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h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hiefdom,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acility,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villag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evels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390900" y="2236431"/>
            <a:ext cx="1664335" cy="3783965"/>
          </a:xfrm>
          <a:prstGeom prst="rect">
            <a:avLst/>
          </a:prstGeom>
          <a:solidFill>
            <a:srgbClr val="FFFFFF"/>
          </a:solidFill>
          <a:ln w="12699">
            <a:solidFill>
              <a:srgbClr val="F2F2F2"/>
            </a:solidFill>
          </a:ln>
        </p:spPr>
        <p:txBody>
          <a:bodyPr vert="horz" wrap="square" lIns="0" tIns="138430" rIns="0" bIns="0" rtlCol="0">
            <a:spAutoFit/>
          </a:bodyPr>
          <a:lstStyle/>
          <a:p>
            <a:pPr marL="338455">
              <a:lnSpc>
                <a:spcPct val="100000"/>
              </a:lnSpc>
              <a:spcBef>
                <a:spcPts val="1090"/>
              </a:spcBef>
            </a:pPr>
            <a:r>
              <a:rPr sz="1400" b="1" spc="-10" dirty="0">
                <a:latin typeface="Arial"/>
                <a:cs typeface="Arial"/>
              </a:rPr>
              <a:t>Objective: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515"/>
              </a:spcBef>
            </a:pPr>
            <a:endParaRPr sz="1400">
              <a:latin typeface="Arial"/>
              <a:cs typeface="Arial"/>
            </a:endParaRPr>
          </a:p>
          <a:p>
            <a:pPr marR="52705" algn="ctr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Impact</a:t>
            </a:r>
            <a:r>
              <a:rPr sz="1400" b="1" spc="-3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metric</a:t>
            </a:r>
            <a:r>
              <a:rPr sz="1400" b="1" spc="-30" dirty="0">
                <a:latin typeface="Arial"/>
                <a:cs typeface="Arial"/>
              </a:rPr>
              <a:t> </a:t>
            </a:r>
            <a:r>
              <a:rPr sz="1400" b="1" spc="-25" dirty="0">
                <a:latin typeface="Arial"/>
                <a:cs typeface="Arial"/>
              </a:rPr>
              <a:t>1:</a:t>
            </a:r>
            <a:endParaRPr sz="1400">
              <a:latin typeface="Arial"/>
              <a:cs typeface="Arial"/>
            </a:endParaRPr>
          </a:p>
          <a:p>
            <a:pPr marR="73660" algn="ctr">
              <a:lnSpc>
                <a:spcPct val="100000"/>
              </a:lnSpc>
              <a:spcBef>
                <a:spcPts val="660"/>
              </a:spcBef>
            </a:pPr>
            <a:r>
              <a:rPr sz="1400" b="1" spc="-10" dirty="0">
                <a:latin typeface="Arial"/>
                <a:cs typeface="Arial"/>
              </a:rPr>
              <a:t>1,891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60"/>
              </a:spcBef>
            </a:pPr>
            <a:endParaRPr sz="1400">
              <a:latin typeface="Arial"/>
              <a:cs typeface="Arial"/>
            </a:endParaRPr>
          </a:p>
          <a:p>
            <a:pPr marL="405765" marR="449580" algn="ctr">
              <a:lnSpc>
                <a:spcPts val="1510"/>
              </a:lnSpc>
            </a:pPr>
            <a:r>
              <a:rPr sz="1400" i="1" dirty="0">
                <a:solidFill>
                  <a:srgbClr val="0070BF"/>
                </a:solidFill>
                <a:latin typeface="Arial"/>
                <a:cs typeface="Arial"/>
              </a:rPr>
              <a:t>Zero</a:t>
            </a:r>
            <a:r>
              <a:rPr sz="1400" i="1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i="1" spc="-20" dirty="0">
                <a:solidFill>
                  <a:srgbClr val="0070BF"/>
                </a:solidFill>
                <a:latin typeface="Arial"/>
                <a:cs typeface="Arial"/>
              </a:rPr>
              <a:t>dose </a:t>
            </a:r>
            <a:r>
              <a:rPr sz="1400" i="1" spc="-10" dirty="0">
                <a:solidFill>
                  <a:srgbClr val="0070BF"/>
                </a:solidFill>
                <a:latin typeface="Arial"/>
                <a:cs typeface="Arial"/>
              </a:rPr>
              <a:t>children identified</a:t>
            </a:r>
            <a:endParaRPr sz="1400">
              <a:latin typeface="Arial"/>
              <a:cs typeface="Arial"/>
            </a:endParaRPr>
          </a:p>
          <a:p>
            <a:pPr marL="1905" algn="ctr">
              <a:lnSpc>
                <a:spcPct val="100000"/>
              </a:lnSpc>
              <a:spcBef>
                <a:spcPts val="400"/>
              </a:spcBef>
            </a:pPr>
            <a:r>
              <a:rPr sz="1400" b="1" dirty="0">
                <a:latin typeface="Arial"/>
                <a:cs typeface="Arial"/>
              </a:rPr>
              <a:t>Impact</a:t>
            </a:r>
            <a:r>
              <a:rPr sz="1400" b="1" spc="-3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metric</a:t>
            </a:r>
            <a:r>
              <a:rPr sz="1400" b="1" spc="-30" dirty="0">
                <a:latin typeface="Arial"/>
                <a:cs typeface="Arial"/>
              </a:rPr>
              <a:t> </a:t>
            </a:r>
            <a:r>
              <a:rPr sz="1400" b="1" spc="-25" dirty="0">
                <a:latin typeface="Arial"/>
                <a:cs typeface="Arial"/>
              </a:rPr>
              <a:t>2:</a:t>
            </a:r>
            <a:endParaRPr sz="1400">
              <a:latin typeface="Arial"/>
              <a:cs typeface="Arial"/>
            </a:endParaRPr>
          </a:p>
          <a:p>
            <a:pPr marR="69850" algn="ctr">
              <a:lnSpc>
                <a:spcPct val="100000"/>
              </a:lnSpc>
              <a:spcBef>
                <a:spcPts val="925"/>
              </a:spcBef>
            </a:pPr>
            <a:r>
              <a:rPr sz="1400" b="1" spc="-10" dirty="0">
                <a:latin typeface="Arial"/>
                <a:cs typeface="Arial"/>
              </a:rPr>
              <a:t>1,891</a:t>
            </a:r>
            <a:endParaRPr sz="1400">
              <a:latin typeface="Arial"/>
              <a:cs typeface="Arial"/>
            </a:endParaRPr>
          </a:p>
          <a:p>
            <a:pPr marL="398145" marR="408305" indent="635" algn="ctr">
              <a:lnSpc>
                <a:spcPts val="1510"/>
              </a:lnSpc>
              <a:spcBef>
                <a:spcPts val="1205"/>
              </a:spcBef>
            </a:pPr>
            <a:r>
              <a:rPr sz="1400" i="1" dirty="0">
                <a:solidFill>
                  <a:srgbClr val="0070BF"/>
                </a:solidFill>
                <a:latin typeface="Arial"/>
                <a:cs typeface="Arial"/>
              </a:rPr>
              <a:t>Zero</a:t>
            </a:r>
            <a:r>
              <a:rPr sz="1400" i="1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i="1" spc="-20" dirty="0">
                <a:solidFill>
                  <a:srgbClr val="0070BF"/>
                </a:solidFill>
                <a:latin typeface="Arial"/>
                <a:cs typeface="Arial"/>
              </a:rPr>
              <a:t>dose </a:t>
            </a:r>
            <a:r>
              <a:rPr sz="1400" i="1" spc="-10" dirty="0">
                <a:solidFill>
                  <a:srgbClr val="0070BF"/>
                </a:solidFill>
                <a:latin typeface="Arial"/>
                <a:cs typeface="Arial"/>
              </a:rPr>
              <a:t>children vaccina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397326" y="2109622"/>
            <a:ext cx="8074659" cy="403732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184150" rIns="0" bIns="0" rtlCol="0">
            <a:spAutoFit/>
          </a:bodyPr>
          <a:lstStyle/>
          <a:p>
            <a:pPr marL="1929130" marR="1247775">
              <a:lnSpc>
                <a:spcPct val="110000"/>
              </a:lnSpc>
              <a:spcBef>
                <a:spcPts val="1450"/>
              </a:spcBef>
            </a:pP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To</a:t>
            </a:r>
            <a:r>
              <a:rPr sz="1400" spc="-2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improve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the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delivery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of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integrated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and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quality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immunization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services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at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all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levels</a:t>
            </a:r>
            <a:r>
              <a:rPr sz="1400" spc="-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in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Sierra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Leone</a:t>
            </a:r>
            <a:r>
              <a:rPr sz="1400" spc="-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by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end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of</a:t>
            </a:r>
            <a:r>
              <a:rPr sz="1400" spc="-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spc="-20" dirty="0">
                <a:solidFill>
                  <a:srgbClr val="0070BF"/>
                </a:solidFill>
                <a:latin typeface="Arial"/>
                <a:cs typeface="Arial"/>
              </a:rPr>
              <a:t>2025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2169667" y="1960664"/>
            <a:ext cx="668020" cy="3622675"/>
            <a:chOff x="2169667" y="1960664"/>
            <a:chExt cx="668020" cy="3622675"/>
          </a:xfrm>
        </p:grpSpPr>
        <p:pic>
          <p:nvPicPr>
            <p:cNvPr id="14" name="object 1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234971" y="5126494"/>
              <a:ext cx="456256" cy="456260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169667" y="3956735"/>
              <a:ext cx="507978" cy="507974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22665" y="1960664"/>
              <a:ext cx="559528" cy="559523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222665" y="3170491"/>
              <a:ext cx="614967" cy="410794"/>
            </a:xfrm>
            <a:prstGeom prst="rect">
              <a:avLst/>
            </a:prstGeom>
          </p:spPr>
        </p:pic>
      </p:grpSp>
      <p:pic>
        <p:nvPicPr>
          <p:cNvPr id="18" name="object 18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1248008" y="18821"/>
            <a:ext cx="849419" cy="826223"/>
          </a:xfrm>
          <a:prstGeom prst="rect">
            <a:avLst/>
          </a:prstGeom>
        </p:spPr>
      </p:pic>
      <p:pic>
        <p:nvPicPr>
          <p:cNvPr id="19" name="object 19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3225" y="18821"/>
            <a:ext cx="1572920" cy="74427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25044" y="1528699"/>
            <a:ext cx="6997700" cy="458470"/>
          </a:xfrm>
          <a:prstGeom prst="rect">
            <a:avLst/>
          </a:prstGeom>
          <a:solidFill>
            <a:srgbClr val="005170"/>
          </a:solidFill>
        </p:spPr>
        <p:txBody>
          <a:bodyPr vert="horz" wrap="square" lIns="0" tIns="105410" rIns="0" bIns="0" rtlCol="0">
            <a:spAutoFit/>
          </a:bodyPr>
          <a:lstStyle/>
          <a:p>
            <a:pPr marL="263525">
              <a:lnSpc>
                <a:spcPct val="100000"/>
              </a:lnSpc>
              <a:spcBef>
                <a:spcPts val="830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Project</a:t>
            </a:r>
            <a:r>
              <a:rPr sz="14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locations</a:t>
            </a:r>
            <a:endParaRPr sz="14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25044" y="2144788"/>
            <a:ext cx="1586230" cy="4490085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20320" rIns="0" bIns="0" rtlCol="0">
            <a:spAutoFit/>
          </a:bodyPr>
          <a:lstStyle/>
          <a:p>
            <a:pPr marL="91440" marR="102870">
              <a:lnSpc>
                <a:spcPct val="110000"/>
              </a:lnSpc>
              <a:spcBef>
                <a:spcPts val="160"/>
              </a:spcBef>
            </a:pPr>
            <a:r>
              <a:rPr sz="1400" dirty="0">
                <a:latin typeface="Arial"/>
                <a:cs typeface="Arial"/>
              </a:rPr>
              <a:t>Project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is </a:t>
            </a:r>
            <a:r>
              <a:rPr sz="1400" dirty="0">
                <a:latin typeface="Arial"/>
                <a:cs typeface="Arial"/>
              </a:rPr>
              <a:t>implemented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50" dirty="0">
                <a:latin typeface="Arial"/>
                <a:cs typeface="Arial"/>
              </a:rPr>
              <a:t>5 </a:t>
            </a:r>
            <a:r>
              <a:rPr sz="1400" dirty="0">
                <a:latin typeface="Arial"/>
                <a:cs typeface="Arial"/>
              </a:rPr>
              <a:t>districts,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focusing </a:t>
            </a:r>
            <a:r>
              <a:rPr sz="1400" dirty="0">
                <a:latin typeface="Arial"/>
                <a:cs typeface="Arial"/>
              </a:rPr>
              <a:t>on </a:t>
            </a:r>
            <a:r>
              <a:rPr sz="1400" spc="-10" dirty="0">
                <a:latin typeface="Arial"/>
                <a:cs typeface="Arial"/>
              </a:rPr>
              <a:t>zero-</a:t>
            </a:r>
            <a:r>
              <a:rPr sz="1400" dirty="0">
                <a:latin typeface="Arial"/>
                <a:cs typeface="Arial"/>
              </a:rPr>
              <a:t>dose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and </a:t>
            </a:r>
            <a:r>
              <a:rPr sz="1400" spc="-10" dirty="0">
                <a:latin typeface="Arial"/>
                <a:cs typeface="Arial"/>
              </a:rPr>
              <a:t>under-immunised </a:t>
            </a:r>
            <a:r>
              <a:rPr sz="1400" dirty="0">
                <a:latin typeface="Arial"/>
                <a:cs typeface="Arial"/>
              </a:rPr>
              <a:t>communities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in </a:t>
            </a:r>
            <a:r>
              <a:rPr sz="1400" dirty="0">
                <a:latin typeface="Arial"/>
                <a:cs typeface="Arial"/>
              </a:rPr>
              <a:t>hard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reach communities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40"/>
              </a:spcBef>
            </a:pPr>
            <a:endParaRPr sz="1400">
              <a:latin typeface="Arial"/>
              <a:cs typeface="Arial"/>
            </a:endParaRPr>
          </a:p>
          <a:p>
            <a:pPr marL="91440" marR="243204">
              <a:lnSpc>
                <a:spcPct val="110000"/>
              </a:lnSpc>
            </a:pPr>
            <a:r>
              <a:rPr sz="1400" dirty="0">
                <a:latin typeface="Arial"/>
                <a:cs typeface="Arial"/>
              </a:rPr>
              <a:t>NB.</a:t>
            </a:r>
            <a:r>
              <a:rPr sz="1400" spc="36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Kambia, </a:t>
            </a:r>
            <a:r>
              <a:rPr sz="1400" dirty="0">
                <a:latin typeface="Arial"/>
                <a:cs typeface="Arial"/>
              </a:rPr>
              <a:t>Port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oko, Karene, Bombali,&amp; </a:t>
            </a:r>
            <a:r>
              <a:rPr sz="1400" dirty="0">
                <a:latin typeface="Arial"/>
                <a:cs typeface="Arial"/>
              </a:rPr>
              <a:t>Tonkolili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District</a:t>
            </a:r>
            <a:endParaRPr sz="14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479588" y="1528699"/>
            <a:ext cx="4568825" cy="458470"/>
          </a:xfrm>
          <a:prstGeom prst="rect">
            <a:avLst/>
          </a:prstGeom>
          <a:solidFill>
            <a:srgbClr val="00B0F0"/>
          </a:solidFill>
        </p:spPr>
        <p:txBody>
          <a:bodyPr vert="horz" wrap="square" lIns="0" tIns="11811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30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Field</a:t>
            </a: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photos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051718" y="711224"/>
            <a:ext cx="9024620" cy="604520"/>
          </a:xfrm>
          <a:prstGeom prst="rect">
            <a:avLst/>
          </a:prstGeom>
        </p:spPr>
        <p:txBody>
          <a:bodyPr vert="horz" wrap="square" lIns="0" tIns="46990" rIns="0" bIns="0" rtlCol="0">
            <a:spAutoFit/>
          </a:bodyPr>
          <a:lstStyle/>
          <a:p>
            <a:pPr marL="12700" marR="5080">
              <a:lnSpc>
                <a:spcPts val="2160"/>
              </a:lnSpc>
              <a:spcBef>
                <a:spcPts val="370"/>
              </a:spcBef>
            </a:pPr>
            <a:r>
              <a:rPr dirty="0"/>
              <a:t>SLRCS–</a:t>
            </a:r>
            <a:r>
              <a:rPr spc="-40" dirty="0"/>
              <a:t> </a:t>
            </a:r>
            <a:r>
              <a:rPr dirty="0"/>
              <a:t>contribute</a:t>
            </a:r>
            <a:r>
              <a:rPr spc="-35" dirty="0"/>
              <a:t> </a:t>
            </a:r>
            <a:r>
              <a:rPr dirty="0"/>
              <a:t>to</a:t>
            </a:r>
            <a:r>
              <a:rPr spc="-35" dirty="0"/>
              <a:t> </a:t>
            </a:r>
            <a:r>
              <a:rPr dirty="0"/>
              <a:t>the</a:t>
            </a:r>
            <a:r>
              <a:rPr spc="-35" dirty="0"/>
              <a:t> </a:t>
            </a:r>
            <a:r>
              <a:rPr dirty="0"/>
              <a:t>reduction</a:t>
            </a:r>
            <a:r>
              <a:rPr spc="-40" dirty="0"/>
              <a:t> </a:t>
            </a:r>
            <a:r>
              <a:rPr dirty="0"/>
              <a:t>of</a:t>
            </a:r>
            <a:r>
              <a:rPr spc="-35" dirty="0"/>
              <a:t> </a:t>
            </a:r>
            <a:r>
              <a:rPr dirty="0"/>
              <a:t>the</a:t>
            </a:r>
            <a:r>
              <a:rPr spc="-35" dirty="0"/>
              <a:t> </a:t>
            </a:r>
            <a:r>
              <a:rPr dirty="0"/>
              <a:t>number</a:t>
            </a:r>
            <a:r>
              <a:rPr spc="-35" dirty="0"/>
              <a:t> </a:t>
            </a:r>
            <a:r>
              <a:rPr dirty="0"/>
              <a:t>of</a:t>
            </a:r>
            <a:r>
              <a:rPr spc="-40" dirty="0"/>
              <a:t> </a:t>
            </a:r>
            <a:r>
              <a:rPr spc="-10" dirty="0"/>
              <a:t>zero-</a:t>
            </a:r>
            <a:r>
              <a:rPr dirty="0"/>
              <a:t>dose</a:t>
            </a:r>
            <a:r>
              <a:rPr spc="-35" dirty="0"/>
              <a:t> </a:t>
            </a:r>
            <a:r>
              <a:rPr dirty="0"/>
              <a:t>children</a:t>
            </a:r>
            <a:r>
              <a:rPr spc="-45" dirty="0"/>
              <a:t> </a:t>
            </a:r>
            <a:r>
              <a:rPr spc="-25" dirty="0"/>
              <a:t>in </a:t>
            </a:r>
            <a:r>
              <a:rPr dirty="0"/>
              <a:t>collaboration</a:t>
            </a:r>
            <a:r>
              <a:rPr spc="-30" dirty="0"/>
              <a:t> </a:t>
            </a:r>
            <a:r>
              <a:rPr dirty="0"/>
              <a:t>with</a:t>
            </a:r>
            <a:r>
              <a:rPr spc="-30" dirty="0"/>
              <a:t> </a:t>
            </a:r>
            <a:r>
              <a:rPr dirty="0"/>
              <a:t>community</a:t>
            </a:r>
            <a:r>
              <a:rPr spc="-30" dirty="0"/>
              <a:t> </a:t>
            </a:r>
            <a:r>
              <a:rPr dirty="0"/>
              <a:t>actors</a:t>
            </a:r>
            <a:r>
              <a:rPr spc="-30" dirty="0"/>
              <a:t> </a:t>
            </a:r>
            <a:r>
              <a:rPr dirty="0"/>
              <a:t>in</a:t>
            </a:r>
            <a:r>
              <a:rPr spc="-30" dirty="0"/>
              <a:t> </a:t>
            </a:r>
            <a:r>
              <a:rPr dirty="0"/>
              <a:t>Five</a:t>
            </a:r>
            <a:r>
              <a:rPr spc="-30" dirty="0"/>
              <a:t> </a:t>
            </a:r>
            <a:r>
              <a:rPr dirty="0"/>
              <a:t>districts</a:t>
            </a:r>
            <a:r>
              <a:rPr spc="-30" dirty="0"/>
              <a:t> </a:t>
            </a:r>
            <a:r>
              <a:rPr dirty="0"/>
              <a:t>in</a:t>
            </a:r>
            <a:r>
              <a:rPr spc="-30" dirty="0"/>
              <a:t> </a:t>
            </a:r>
            <a:r>
              <a:rPr dirty="0"/>
              <a:t>Sierra</a:t>
            </a:r>
            <a:r>
              <a:rPr spc="-30" dirty="0"/>
              <a:t> </a:t>
            </a:r>
            <a:r>
              <a:rPr spc="-10" dirty="0"/>
              <a:t>Leone</a:t>
            </a: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139137" y="2037422"/>
            <a:ext cx="9555289" cy="4668177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342585" y="0"/>
            <a:ext cx="849419" cy="813470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44028"/>
            <a:ext cx="1546680" cy="74427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330609" y="0"/>
            <a:ext cx="858343" cy="858100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4392929" y="1461312"/>
            <a:ext cx="3093085" cy="1856105"/>
          </a:xfrm>
          <a:prstGeom prst="rect">
            <a:avLst/>
          </a:prstGeom>
          <a:solidFill>
            <a:srgbClr val="0070BF"/>
          </a:solidFill>
        </p:spPr>
        <p:txBody>
          <a:bodyPr vert="horz" wrap="square" lIns="0" tIns="3810" rIns="0" bIns="0" rtlCol="0">
            <a:spAutoFit/>
          </a:bodyPr>
          <a:lstStyle/>
          <a:p>
            <a:pPr marL="248920" marR="242570" indent="772795">
              <a:lnSpc>
                <a:spcPct val="125000"/>
              </a:lnSpc>
              <a:spcBef>
                <a:spcPts val="30"/>
              </a:spcBef>
            </a:pP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Focus</a:t>
            </a:r>
            <a:r>
              <a:rPr sz="1500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Arial"/>
                <a:cs typeface="Arial"/>
              </a:rPr>
              <a:t>areas Identification</a:t>
            </a:r>
            <a:r>
              <a:rPr sz="1500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of</a:t>
            </a:r>
            <a:r>
              <a:rPr sz="15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Zero</a:t>
            </a:r>
            <a:r>
              <a:rPr sz="15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Dose</a:t>
            </a:r>
            <a:r>
              <a:rPr sz="15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spc="-25" dirty="0">
                <a:solidFill>
                  <a:srgbClr val="FFFFFF"/>
                </a:solidFill>
                <a:latin typeface="Arial"/>
                <a:cs typeface="Arial"/>
              </a:rPr>
              <a:t>and</a:t>
            </a:r>
            <a:endParaRPr sz="1500">
              <a:latin typeface="Arial"/>
              <a:cs typeface="Arial"/>
            </a:endParaRPr>
          </a:p>
          <a:p>
            <a:pPr algn="ctr">
              <a:lnSpc>
                <a:spcPts val="1620"/>
              </a:lnSpc>
            </a:pP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under</a:t>
            </a:r>
            <a:r>
              <a:rPr sz="1500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Arial"/>
                <a:cs typeface="Arial"/>
              </a:rPr>
              <a:t>immunized</a:t>
            </a:r>
            <a:r>
              <a:rPr sz="1500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Arial"/>
                <a:cs typeface="Arial"/>
              </a:rPr>
              <a:t>children</a:t>
            </a:r>
            <a:endParaRPr sz="1500">
              <a:latin typeface="Arial"/>
              <a:cs typeface="Arial"/>
            </a:endParaRPr>
          </a:p>
          <a:p>
            <a:pPr marL="381635" marR="374650" algn="ctr">
              <a:lnSpc>
                <a:spcPts val="1620"/>
              </a:lnSpc>
              <a:spcBef>
                <a:spcPts val="650"/>
              </a:spcBef>
            </a:pP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Demand</a:t>
            </a:r>
            <a:r>
              <a:rPr sz="1500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Arial"/>
                <a:cs typeface="Arial"/>
              </a:rPr>
              <a:t>generation</a:t>
            </a:r>
            <a:r>
              <a:rPr sz="1500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spc="-25" dirty="0">
                <a:solidFill>
                  <a:srgbClr val="FFFFFF"/>
                </a:solidFill>
                <a:latin typeface="Arial"/>
                <a:cs typeface="Arial"/>
              </a:rPr>
              <a:t>and </a:t>
            </a:r>
            <a:r>
              <a:rPr sz="1500" spc="-10" dirty="0">
                <a:solidFill>
                  <a:srgbClr val="FFFFFF"/>
                </a:solidFill>
                <a:latin typeface="Arial"/>
                <a:cs typeface="Arial"/>
              </a:rPr>
              <a:t>vaccination</a:t>
            </a:r>
            <a:r>
              <a:rPr sz="1500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in</a:t>
            </a:r>
            <a:r>
              <a:rPr sz="1500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hard</a:t>
            </a:r>
            <a:r>
              <a:rPr sz="1500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to</a:t>
            </a:r>
            <a:r>
              <a:rPr sz="1500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Arial"/>
                <a:cs typeface="Arial"/>
              </a:rPr>
              <a:t>reach communities</a:t>
            </a:r>
            <a:endParaRPr sz="15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763167" y="1431493"/>
            <a:ext cx="3093085" cy="1856105"/>
          </a:xfrm>
          <a:prstGeom prst="rect">
            <a:avLst/>
          </a:prstGeom>
          <a:solidFill>
            <a:srgbClr val="8CDFFF"/>
          </a:solidFill>
        </p:spPr>
        <p:txBody>
          <a:bodyPr vert="horz" wrap="square" lIns="0" tIns="6921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45"/>
              </a:spcBef>
            </a:pPr>
            <a:endParaRPr sz="16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</a:pP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Stakeholders</a:t>
            </a:r>
            <a:endParaRPr sz="1600">
              <a:latin typeface="Calibri"/>
              <a:cs typeface="Calibri"/>
            </a:endParaRPr>
          </a:p>
          <a:p>
            <a:pPr marL="143510" marR="138430" algn="ctr">
              <a:lnSpc>
                <a:spcPts val="1510"/>
              </a:lnSpc>
              <a:spcBef>
                <a:spcPts val="770"/>
              </a:spcBef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PHC</a:t>
            </a:r>
            <a:r>
              <a:rPr sz="1400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facilities,</a:t>
            </a:r>
            <a:r>
              <a:rPr sz="1400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CHW,</a:t>
            </a:r>
            <a:r>
              <a:rPr sz="1400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DHMTs,</a:t>
            </a:r>
            <a:r>
              <a:rPr sz="1400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spc="-20" dirty="0">
                <a:solidFill>
                  <a:srgbClr val="FFFFFF"/>
                </a:solidFill>
                <a:latin typeface="Arial"/>
                <a:cs typeface="Arial"/>
              </a:rPr>
              <a:t>MoH,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EPI</a:t>
            </a:r>
            <a:r>
              <a:rPr sz="1400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teams,</a:t>
            </a:r>
            <a:r>
              <a:rPr sz="1400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DHMT,</a:t>
            </a:r>
            <a:r>
              <a:rPr sz="14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Arial"/>
                <a:cs typeface="Arial"/>
              </a:rPr>
              <a:t>Community Stakeholders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392929" y="3636911"/>
            <a:ext cx="3093085" cy="1856105"/>
          </a:xfrm>
          <a:prstGeom prst="rect">
            <a:avLst/>
          </a:prstGeom>
          <a:solidFill>
            <a:srgbClr val="BFBFBF"/>
          </a:solidFill>
        </p:spPr>
        <p:txBody>
          <a:bodyPr vert="horz" wrap="square" lIns="0" tIns="26669" rIns="0" bIns="0" rtlCol="0">
            <a:spAutoFit/>
          </a:bodyPr>
          <a:lstStyle/>
          <a:p>
            <a:pPr marL="974725" marR="967105" algn="ctr">
              <a:lnSpc>
                <a:spcPct val="250000"/>
              </a:lnSpc>
              <a:spcBef>
                <a:spcPts val="209"/>
              </a:spcBef>
            </a:pPr>
            <a:r>
              <a:rPr sz="1500" spc="-20" dirty="0">
                <a:solidFill>
                  <a:srgbClr val="FFFFFF"/>
                </a:solidFill>
                <a:latin typeface="Arial"/>
                <a:cs typeface="Arial"/>
              </a:rPr>
              <a:t>CSOs </a:t>
            </a: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FOCUS</a:t>
            </a:r>
            <a:r>
              <a:rPr sz="1500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spc="-20" dirty="0">
                <a:solidFill>
                  <a:srgbClr val="FFFFFF"/>
                </a:solidFill>
                <a:latin typeface="Arial"/>
                <a:cs typeface="Arial"/>
              </a:rPr>
              <a:t>1000</a:t>
            </a:r>
            <a:endParaRPr sz="15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50"/>
              </a:spcBef>
            </a:pP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Health</a:t>
            </a:r>
            <a:r>
              <a:rPr sz="1500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for</a:t>
            </a:r>
            <a:r>
              <a:rPr sz="1500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ALL</a:t>
            </a:r>
            <a:r>
              <a:rPr sz="1500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Arial"/>
                <a:cs typeface="Arial"/>
              </a:rPr>
              <a:t>Coalition</a:t>
            </a:r>
            <a:endParaRPr sz="15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795094" y="3597859"/>
            <a:ext cx="3093085" cy="1856105"/>
          </a:xfrm>
          <a:prstGeom prst="rect">
            <a:avLst/>
          </a:prstGeom>
          <a:solidFill>
            <a:srgbClr val="0079A6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5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5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105"/>
              </a:spcBef>
            </a:pPr>
            <a:endParaRPr sz="1500">
              <a:latin typeface="Times New Roman"/>
              <a:cs typeface="Times New Roman"/>
            </a:endParaRPr>
          </a:p>
          <a:p>
            <a:pPr marL="948055">
              <a:lnSpc>
                <a:spcPct val="100000"/>
              </a:lnSpc>
              <a:spcBef>
                <a:spcPts val="5"/>
              </a:spcBef>
            </a:pPr>
            <a:r>
              <a:rPr sz="1500" dirty="0">
                <a:solidFill>
                  <a:srgbClr val="FFFFFF"/>
                </a:solidFill>
                <a:latin typeface="Arial"/>
                <a:cs typeface="Arial"/>
              </a:rPr>
              <a:t>Local</a:t>
            </a:r>
            <a:r>
              <a:rPr sz="1500" spc="-6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Arial"/>
                <a:cs typeface="Arial"/>
              </a:rPr>
              <a:t>Leaders</a:t>
            </a:r>
            <a:endParaRPr sz="1500">
              <a:latin typeface="Arial"/>
              <a:cs typeface="Arial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6923" y="980278"/>
            <a:ext cx="3432263" cy="2574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6923" y="3894607"/>
            <a:ext cx="3432263" cy="2568346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20611" y="0"/>
            <a:ext cx="1281557" cy="854710"/>
          </a:xfrm>
          <a:prstGeom prst="rect">
            <a:avLst/>
          </a:prstGeom>
        </p:spPr>
      </p:pic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348354">
              <a:lnSpc>
                <a:spcPct val="100000"/>
              </a:lnSpc>
              <a:spcBef>
                <a:spcPts val="100"/>
              </a:spcBef>
            </a:pPr>
            <a:r>
              <a:rPr dirty="0"/>
              <a:t>Role</a:t>
            </a:r>
            <a:r>
              <a:rPr spc="-25" dirty="0"/>
              <a:t> </a:t>
            </a:r>
            <a:r>
              <a:rPr dirty="0"/>
              <a:t>in</a:t>
            </a:r>
            <a:r>
              <a:rPr spc="-25" dirty="0"/>
              <a:t> </a:t>
            </a:r>
            <a:r>
              <a:rPr dirty="0"/>
              <a:t>Local</a:t>
            </a:r>
            <a:r>
              <a:rPr spc="-25" dirty="0"/>
              <a:t> </a:t>
            </a:r>
            <a:r>
              <a:rPr dirty="0"/>
              <a:t>Health</a:t>
            </a:r>
            <a:r>
              <a:rPr spc="-25" dirty="0"/>
              <a:t> </a:t>
            </a:r>
            <a:r>
              <a:rPr spc="-10" dirty="0"/>
              <a:t>Infrastructure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59300" y="1001479"/>
            <a:ext cx="8122284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What</a:t>
            </a:r>
            <a:r>
              <a:rPr spc="-45" dirty="0"/>
              <a:t> </a:t>
            </a:r>
            <a:r>
              <a:rPr dirty="0"/>
              <a:t>We’ve</a:t>
            </a:r>
            <a:r>
              <a:rPr spc="-45" dirty="0"/>
              <a:t> </a:t>
            </a:r>
            <a:r>
              <a:rPr dirty="0"/>
              <a:t>Achieved:</a:t>
            </a:r>
            <a:r>
              <a:rPr spc="-40" dirty="0"/>
              <a:t> </a:t>
            </a:r>
            <a:r>
              <a:rPr dirty="0"/>
              <a:t>Strengthening</a:t>
            </a:r>
            <a:r>
              <a:rPr spc="-45" dirty="0"/>
              <a:t> </a:t>
            </a:r>
            <a:r>
              <a:rPr dirty="0"/>
              <a:t>Systems</a:t>
            </a:r>
            <a:r>
              <a:rPr spc="-45" dirty="0"/>
              <a:t> </a:t>
            </a:r>
            <a:r>
              <a:rPr dirty="0"/>
              <a:t>from</a:t>
            </a:r>
            <a:r>
              <a:rPr spc="-45" dirty="0"/>
              <a:t> </a:t>
            </a:r>
            <a:r>
              <a:rPr dirty="0"/>
              <a:t>the</a:t>
            </a:r>
            <a:r>
              <a:rPr spc="-40" dirty="0"/>
              <a:t> </a:t>
            </a:r>
            <a:r>
              <a:rPr dirty="0"/>
              <a:t>Ground</a:t>
            </a:r>
            <a:r>
              <a:rPr spc="-45" dirty="0"/>
              <a:t> </a:t>
            </a:r>
            <a:r>
              <a:rPr spc="-25" dirty="0"/>
              <a:t>Up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40785" y="2212644"/>
            <a:ext cx="104330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latin typeface="Arial"/>
                <a:cs typeface="Arial"/>
              </a:rPr>
              <a:t>Key</a:t>
            </a:r>
            <a:r>
              <a:rPr sz="1400" b="1" spc="-10" dirty="0">
                <a:latin typeface="Arial"/>
                <a:cs typeface="Arial"/>
              </a:rPr>
              <a:t> results:</a:t>
            </a:r>
            <a:endParaRPr sz="14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5992" y="2682036"/>
            <a:ext cx="3144520" cy="718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indent="-342265">
              <a:lnSpc>
                <a:spcPct val="100000"/>
              </a:lnSpc>
              <a:spcBef>
                <a:spcPts val="100"/>
              </a:spcBef>
              <a:buClr>
                <a:srgbClr val="83BD00"/>
              </a:buClr>
              <a:buSzPct val="128571"/>
              <a:buChar char="•"/>
              <a:tabLst>
                <a:tab pos="354965" algn="l"/>
              </a:tabLst>
            </a:pPr>
            <a:r>
              <a:rPr sz="1400" spc="-10" dirty="0">
                <a:solidFill>
                  <a:srgbClr val="005BB8"/>
                </a:solidFill>
                <a:latin typeface="Arial"/>
                <a:cs typeface="Arial"/>
              </a:rPr>
              <a:t>Zero-</a:t>
            </a: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dose</a:t>
            </a:r>
            <a:r>
              <a:rPr sz="1400" spc="-20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children</a:t>
            </a:r>
            <a:r>
              <a:rPr sz="1400" spc="-10" dirty="0">
                <a:solidFill>
                  <a:srgbClr val="005BB8"/>
                </a:solidFill>
                <a:latin typeface="Arial"/>
                <a:cs typeface="Arial"/>
              </a:rPr>
              <a:t> reached</a:t>
            </a:r>
            <a:endParaRPr sz="1400">
              <a:latin typeface="Arial"/>
              <a:cs typeface="Arial"/>
            </a:endParaRPr>
          </a:p>
          <a:p>
            <a:pPr marL="354965" indent="-342265">
              <a:lnSpc>
                <a:spcPct val="100000"/>
              </a:lnSpc>
              <a:spcBef>
                <a:spcPts val="165"/>
              </a:spcBef>
              <a:buClr>
                <a:srgbClr val="83BD00"/>
              </a:buClr>
              <a:buSzPct val="128571"/>
              <a:buChar char="•"/>
              <a:tabLst>
                <a:tab pos="354965" algn="l"/>
              </a:tabLst>
            </a:pP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PHC</a:t>
            </a:r>
            <a:r>
              <a:rPr sz="1400" spc="-35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service</a:t>
            </a:r>
            <a:r>
              <a:rPr sz="1400" spc="-30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005BB8"/>
                </a:solidFill>
                <a:latin typeface="Arial"/>
                <a:cs typeface="Arial"/>
              </a:rPr>
              <a:t>uptake</a:t>
            </a:r>
            <a:endParaRPr sz="1400">
              <a:latin typeface="Arial"/>
              <a:cs typeface="Arial"/>
            </a:endParaRPr>
          </a:p>
          <a:p>
            <a:pPr marL="354965" indent="-342265">
              <a:lnSpc>
                <a:spcPct val="100000"/>
              </a:lnSpc>
              <a:spcBef>
                <a:spcPts val="170"/>
              </a:spcBef>
              <a:buClr>
                <a:srgbClr val="83BD00"/>
              </a:buClr>
              <a:buSzPct val="128571"/>
              <a:buChar char="•"/>
              <a:tabLst>
                <a:tab pos="354965" algn="l"/>
              </a:tabLst>
            </a:pP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Changes</a:t>
            </a:r>
            <a:r>
              <a:rPr sz="1400" spc="-20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in</a:t>
            </a:r>
            <a:r>
              <a:rPr sz="1400" spc="-20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immunisation</a:t>
            </a:r>
            <a:r>
              <a:rPr sz="1400" spc="-15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005BB8"/>
                </a:solidFill>
                <a:latin typeface="Arial"/>
                <a:cs typeface="Arial"/>
              </a:rPr>
              <a:t>coverage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40785" y="3620820"/>
            <a:ext cx="208026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latin typeface="Arial"/>
                <a:cs typeface="Arial"/>
              </a:rPr>
              <a:t>Systems</a:t>
            </a:r>
            <a:r>
              <a:rPr sz="1400" b="1" spc="-35" dirty="0">
                <a:latin typeface="Arial"/>
                <a:cs typeface="Arial"/>
              </a:rPr>
              <a:t> </a:t>
            </a:r>
            <a:r>
              <a:rPr sz="1400" b="1" spc="-10" dirty="0">
                <a:latin typeface="Arial"/>
                <a:cs typeface="Arial"/>
              </a:rPr>
              <a:t>improvements:</a:t>
            </a:r>
            <a:endParaRPr sz="14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5993" y="4090212"/>
            <a:ext cx="3253740" cy="4838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indent="-342265">
              <a:lnSpc>
                <a:spcPct val="100000"/>
              </a:lnSpc>
              <a:spcBef>
                <a:spcPts val="100"/>
              </a:spcBef>
              <a:buClr>
                <a:srgbClr val="83BD00"/>
              </a:buClr>
              <a:buSzPct val="128571"/>
              <a:buChar char="•"/>
              <a:tabLst>
                <a:tab pos="354965" algn="l"/>
              </a:tabLst>
            </a:pP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Data</a:t>
            </a:r>
            <a:r>
              <a:rPr sz="1400" spc="-20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collection</a:t>
            </a:r>
            <a:r>
              <a:rPr sz="1400" spc="-20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and</a:t>
            </a:r>
            <a:r>
              <a:rPr sz="1400" spc="-20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spc="-25" dirty="0">
                <a:solidFill>
                  <a:srgbClr val="005BB8"/>
                </a:solidFill>
                <a:latin typeface="Arial"/>
                <a:cs typeface="Arial"/>
              </a:rPr>
              <a:t>use</a:t>
            </a:r>
            <a:endParaRPr sz="1400">
              <a:latin typeface="Arial"/>
              <a:cs typeface="Arial"/>
            </a:endParaRPr>
          </a:p>
          <a:p>
            <a:pPr marL="354965" indent="-342265">
              <a:lnSpc>
                <a:spcPct val="100000"/>
              </a:lnSpc>
              <a:spcBef>
                <a:spcPts val="165"/>
              </a:spcBef>
              <a:buClr>
                <a:srgbClr val="83BD00"/>
              </a:buClr>
              <a:buSzPct val="128571"/>
              <a:buChar char="•"/>
              <a:tabLst>
                <a:tab pos="354965" algn="l"/>
              </a:tabLst>
            </a:pP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Health</a:t>
            </a:r>
            <a:r>
              <a:rPr sz="1400" spc="-15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worker</a:t>
            </a:r>
            <a:r>
              <a:rPr sz="1400" spc="-10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5BB8"/>
                </a:solidFill>
                <a:latin typeface="Arial"/>
                <a:cs typeface="Arial"/>
              </a:rPr>
              <a:t>training</a:t>
            </a:r>
            <a:r>
              <a:rPr sz="1400" spc="-10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1400" u="sng" dirty="0">
                <a:solidFill>
                  <a:srgbClr val="00A0DF"/>
                </a:solidFill>
                <a:uFill>
                  <a:solidFill>
                    <a:srgbClr val="00A0DF"/>
                  </a:solidFill>
                </a:uFill>
                <a:latin typeface="Arial"/>
                <a:cs typeface="Arial"/>
                <a:hlinkClick r:id="rId2"/>
              </a:rPr>
              <a:t>or</a:t>
            </a:r>
            <a:r>
              <a:rPr sz="1400" spc="-10" dirty="0">
                <a:solidFill>
                  <a:srgbClr val="00A0DF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005BB8"/>
                </a:solidFill>
                <a:latin typeface="Arial"/>
                <a:cs typeface="Arial"/>
              </a:rPr>
              <a:t>supervision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330609" y="0"/>
            <a:ext cx="858343" cy="858100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0611" y="0"/>
            <a:ext cx="1281557" cy="854710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232051" y="1423339"/>
            <a:ext cx="3811257" cy="2411628"/>
          </a:xfrm>
          <a:prstGeom prst="rect">
            <a:avLst/>
          </a:prstGeom>
        </p:spPr>
      </p:pic>
      <p:pic>
        <p:nvPicPr>
          <p:cNvPr id="10" name="object 10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232051" y="4223258"/>
            <a:ext cx="3912247" cy="2202446"/>
          </a:xfrm>
          <a:prstGeom prst="rect">
            <a:avLst/>
          </a:prstGeom>
        </p:spPr>
      </p:pic>
      <p:grpSp>
        <p:nvGrpSpPr>
          <p:cNvPr id="11" name="object 11"/>
          <p:cNvGrpSpPr/>
          <p:nvPr/>
        </p:nvGrpSpPr>
        <p:grpSpPr>
          <a:xfrm>
            <a:off x="6559118" y="2045411"/>
            <a:ext cx="1343660" cy="3517265"/>
            <a:chOff x="6559118" y="2045411"/>
            <a:chExt cx="1343660" cy="3517265"/>
          </a:xfrm>
        </p:grpSpPr>
        <p:sp>
          <p:nvSpPr>
            <p:cNvPr id="12" name="object 12"/>
            <p:cNvSpPr/>
            <p:nvPr/>
          </p:nvSpPr>
          <p:spPr>
            <a:xfrm>
              <a:off x="6563880" y="2427477"/>
              <a:ext cx="1339215" cy="2753360"/>
            </a:xfrm>
            <a:custGeom>
              <a:avLst/>
              <a:gdLst/>
              <a:ahLst/>
              <a:cxnLst/>
              <a:rect l="l" t="t" r="r" b="b"/>
              <a:pathLst>
                <a:path w="1339215" h="2753360">
                  <a:moveTo>
                    <a:pt x="662724" y="0"/>
                  </a:moveTo>
                  <a:lnTo>
                    <a:pt x="0" y="0"/>
                  </a:lnTo>
                  <a:lnTo>
                    <a:pt x="0" y="414616"/>
                  </a:lnTo>
                  <a:lnTo>
                    <a:pt x="662724" y="414616"/>
                  </a:lnTo>
                  <a:lnTo>
                    <a:pt x="662724" y="0"/>
                  </a:lnTo>
                  <a:close/>
                </a:path>
                <a:path w="1339215" h="2753360">
                  <a:moveTo>
                    <a:pt x="933843" y="2338463"/>
                  </a:moveTo>
                  <a:lnTo>
                    <a:pt x="0" y="2338463"/>
                  </a:lnTo>
                  <a:lnTo>
                    <a:pt x="0" y="2753080"/>
                  </a:lnTo>
                  <a:lnTo>
                    <a:pt x="933843" y="2753080"/>
                  </a:lnTo>
                  <a:lnTo>
                    <a:pt x="933843" y="2338463"/>
                  </a:lnTo>
                  <a:close/>
                </a:path>
                <a:path w="1339215" h="2753360">
                  <a:moveTo>
                    <a:pt x="1338783" y="1169225"/>
                  </a:moveTo>
                  <a:lnTo>
                    <a:pt x="0" y="1169225"/>
                  </a:lnTo>
                  <a:lnTo>
                    <a:pt x="0" y="1583855"/>
                  </a:lnTo>
                  <a:lnTo>
                    <a:pt x="1338783" y="1583855"/>
                  </a:lnTo>
                  <a:lnTo>
                    <a:pt x="1338783" y="1169225"/>
                  </a:lnTo>
                  <a:close/>
                </a:path>
              </a:pathLst>
            </a:custGeom>
            <a:solidFill>
              <a:srgbClr val="0070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563880" y="2050173"/>
              <a:ext cx="0" cy="3507740"/>
            </a:xfrm>
            <a:custGeom>
              <a:avLst/>
              <a:gdLst/>
              <a:ahLst/>
              <a:cxnLst/>
              <a:rect l="l" t="t" r="r" b="b"/>
              <a:pathLst>
                <a:path h="3507740">
                  <a:moveTo>
                    <a:pt x="0" y="3507689"/>
                  </a:moveTo>
                  <a:lnTo>
                    <a:pt x="0" y="0"/>
                  </a:lnTo>
                </a:path>
              </a:pathLst>
            </a:custGeom>
            <a:ln w="9524">
              <a:solidFill>
                <a:srgbClr val="D8D8D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559118" y="2045423"/>
              <a:ext cx="9525" cy="3517265"/>
            </a:xfrm>
            <a:custGeom>
              <a:avLst/>
              <a:gdLst/>
              <a:ahLst/>
              <a:cxnLst/>
              <a:rect l="l" t="t" r="r" b="b"/>
              <a:pathLst>
                <a:path w="9525" h="3517265">
                  <a:moveTo>
                    <a:pt x="9512" y="3512451"/>
                  </a:moveTo>
                  <a:lnTo>
                    <a:pt x="8128" y="3509073"/>
                  </a:lnTo>
                  <a:lnTo>
                    <a:pt x="4762" y="3507689"/>
                  </a:lnTo>
                  <a:lnTo>
                    <a:pt x="1384" y="3509073"/>
                  </a:lnTo>
                  <a:lnTo>
                    <a:pt x="0" y="3512451"/>
                  </a:lnTo>
                  <a:lnTo>
                    <a:pt x="1384" y="3515817"/>
                  </a:lnTo>
                  <a:lnTo>
                    <a:pt x="4762" y="3517201"/>
                  </a:lnTo>
                  <a:lnTo>
                    <a:pt x="8128" y="3515817"/>
                  </a:lnTo>
                  <a:lnTo>
                    <a:pt x="9512" y="3512451"/>
                  </a:lnTo>
                  <a:close/>
                </a:path>
                <a:path w="9525" h="3517265">
                  <a:moveTo>
                    <a:pt x="9512" y="2343213"/>
                  </a:moveTo>
                  <a:lnTo>
                    <a:pt x="8128" y="2339848"/>
                  </a:lnTo>
                  <a:lnTo>
                    <a:pt x="4762" y="2338463"/>
                  </a:lnTo>
                  <a:lnTo>
                    <a:pt x="1384" y="2339848"/>
                  </a:lnTo>
                  <a:lnTo>
                    <a:pt x="0" y="2343213"/>
                  </a:lnTo>
                  <a:lnTo>
                    <a:pt x="1384" y="2346591"/>
                  </a:lnTo>
                  <a:lnTo>
                    <a:pt x="4762" y="2347976"/>
                  </a:lnTo>
                  <a:lnTo>
                    <a:pt x="8128" y="2346591"/>
                  </a:lnTo>
                  <a:lnTo>
                    <a:pt x="9512" y="2343213"/>
                  </a:lnTo>
                  <a:close/>
                </a:path>
                <a:path w="9525" h="3517265">
                  <a:moveTo>
                    <a:pt x="9512" y="1173975"/>
                  </a:moveTo>
                  <a:lnTo>
                    <a:pt x="8128" y="1170609"/>
                  </a:lnTo>
                  <a:lnTo>
                    <a:pt x="4762" y="1169225"/>
                  </a:lnTo>
                  <a:lnTo>
                    <a:pt x="1384" y="1170609"/>
                  </a:lnTo>
                  <a:lnTo>
                    <a:pt x="0" y="1173975"/>
                  </a:lnTo>
                  <a:lnTo>
                    <a:pt x="1384" y="1177353"/>
                  </a:lnTo>
                  <a:lnTo>
                    <a:pt x="4762" y="1178737"/>
                  </a:lnTo>
                  <a:lnTo>
                    <a:pt x="8128" y="1177353"/>
                  </a:lnTo>
                  <a:lnTo>
                    <a:pt x="9512" y="1173975"/>
                  </a:lnTo>
                  <a:close/>
                </a:path>
                <a:path w="9525" h="3517265">
                  <a:moveTo>
                    <a:pt x="9512" y="4749"/>
                  </a:moveTo>
                  <a:lnTo>
                    <a:pt x="8128" y="1384"/>
                  </a:lnTo>
                  <a:lnTo>
                    <a:pt x="4762" y="0"/>
                  </a:lnTo>
                  <a:lnTo>
                    <a:pt x="1384" y="1384"/>
                  </a:lnTo>
                  <a:lnTo>
                    <a:pt x="0" y="4749"/>
                  </a:lnTo>
                  <a:lnTo>
                    <a:pt x="1384" y="8128"/>
                  </a:lnTo>
                  <a:lnTo>
                    <a:pt x="4762" y="9512"/>
                  </a:lnTo>
                  <a:lnTo>
                    <a:pt x="8128" y="8128"/>
                  </a:lnTo>
                  <a:lnTo>
                    <a:pt x="9512" y="4749"/>
                  </a:lnTo>
                  <a:close/>
                </a:path>
              </a:pathLst>
            </a:custGeom>
            <a:solidFill>
              <a:srgbClr val="D8D8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7539600" y="4850104"/>
            <a:ext cx="42100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0" dirty="0">
                <a:solidFill>
                  <a:srgbClr val="3F3F3F"/>
                </a:solidFill>
                <a:latin typeface="Arial"/>
                <a:cs typeface="Arial"/>
              </a:rPr>
              <a:t>1891</a:t>
            </a:r>
            <a:endParaRPr sz="14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732665" y="3680879"/>
            <a:ext cx="42100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0" dirty="0">
                <a:solidFill>
                  <a:srgbClr val="3F3F3F"/>
                </a:solidFill>
                <a:latin typeface="Arial"/>
                <a:cs typeface="Arial"/>
              </a:rPr>
              <a:t>2711</a:t>
            </a:r>
            <a:endParaRPr sz="14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268481" y="2511649"/>
            <a:ext cx="42100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0" dirty="0">
                <a:solidFill>
                  <a:srgbClr val="3F3F3F"/>
                </a:solidFill>
                <a:latin typeface="Arial"/>
                <a:cs typeface="Arial"/>
              </a:rPr>
              <a:t>1342</a:t>
            </a:r>
            <a:endParaRPr sz="14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522259" y="4848314"/>
            <a:ext cx="1882139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Zero</a:t>
            </a:r>
            <a:r>
              <a:rPr sz="1400" b="1" spc="-10" dirty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Dose</a:t>
            </a:r>
            <a:r>
              <a:rPr sz="1400" b="1" spc="-10" dirty="0">
                <a:solidFill>
                  <a:srgbClr val="595959"/>
                </a:solidFill>
                <a:latin typeface="Arial"/>
                <a:cs typeface="Arial"/>
              </a:rPr>
              <a:t> Vaccina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900055" y="3679075"/>
            <a:ext cx="250380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Under</a:t>
            </a:r>
            <a:r>
              <a:rPr sz="1400" b="1" spc="-40" dirty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Immunized</a:t>
            </a:r>
            <a:r>
              <a:rPr sz="1400" b="1" spc="-40" dirty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595959"/>
                </a:solidFill>
                <a:latin typeface="Arial"/>
                <a:cs typeface="Arial"/>
              </a:rPr>
              <a:t>Vaccina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621409" y="2509850"/>
            <a:ext cx="178308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Communities</a:t>
            </a:r>
            <a:r>
              <a:rPr sz="1400" b="1" spc="-60" dirty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595959"/>
                </a:solidFill>
                <a:latin typeface="Arial"/>
                <a:cs typeface="Arial"/>
              </a:rPr>
              <a:t>Visited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E7F627-A057-E734-0008-2C760038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836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2" progId="TCLayout.ActiveDocument.1">
                  <p:embed/>
                </p:oleObj>
              </mc:Choice>
              <mc:Fallback>
                <p:oleObj name="think-cell Slide" r:id="rId4" imgW="411" imgH="4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E7F627-A057-E734-0008-2C760038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ED6F80-57E6-569E-69A5-63D228693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bg1"/>
                </a:solidFill>
              </a:rPr>
              <a:t>Housekeep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A9BDFB-8961-2AC4-1FED-5E3FB9B00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8" name="Graphic 7" descr="Chat bubble with solid fill">
            <a:extLst>
              <a:ext uri="{FF2B5EF4-FFF2-40B4-BE49-F238E27FC236}">
                <a16:creationId xmlns:a16="http://schemas.microsoft.com/office/drawing/2014/main" id="{FF19228E-AB81-196D-81C4-40153245CB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40729" y="1171222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EBE4433-B4F0-EEA6-1C70-64E890F700EA}"/>
              </a:ext>
            </a:extLst>
          </p:cNvPr>
          <p:cNvSpPr txBox="1"/>
          <p:nvPr/>
        </p:nvSpPr>
        <p:spPr>
          <a:xfrm>
            <a:off x="5218430" y="2089070"/>
            <a:ext cx="22796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 chat feature to post links/reactions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fr-FR" dirty="0">
                <a:solidFill>
                  <a:schemeClr val="bg1"/>
                </a:solidFill>
              </a:rPr>
              <a:t>Utilisez la fonction de chat pour publier des liens/réaction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" name="Graphic 13" descr="Projector screen with solid fill">
            <a:extLst>
              <a:ext uri="{FF2B5EF4-FFF2-40B4-BE49-F238E27FC236}">
                <a16:creationId xmlns:a16="http://schemas.microsoft.com/office/drawing/2014/main" id="{75A273AB-1F11-506F-30BB-E602AD9953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40729" y="4120395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516EB88-4C24-486B-A6ED-DD1BFAF30307}"/>
              </a:ext>
            </a:extLst>
          </p:cNvPr>
          <p:cNvSpPr txBox="1"/>
          <p:nvPr/>
        </p:nvSpPr>
        <p:spPr>
          <a:xfrm>
            <a:off x="4312920" y="5086613"/>
            <a:ext cx="4312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lideshow &amp; recording shared following the session</a:t>
            </a:r>
          </a:p>
          <a:p>
            <a:pPr algn="ctr"/>
            <a:r>
              <a:rPr lang="fr-FR" dirty="0">
                <a:solidFill>
                  <a:schemeClr val="bg1"/>
                </a:solidFill>
              </a:rPr>
              <a:t>Diaporama et enregistrement partagés après la séanc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BD1358-740A-A35F-46E2-A722C7025EAB}"/>
              </a:ext>
            </a:extLst>
          </p:cNvPr>
          <p:cNvSpPr txBox="1"/>
          <p:nvPr/>
        </p:nvSpPr>
        <p:spPr>
          <a:xfrm>
            <a:off x="1643380" y="2966233"/>
            <a:ext cx="212725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ENG-FR translation available – use the globe button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en-US" dirty="0" err="1">
                <a:solidFill>
                  <a:schemeClr val="bg1"/>
                </a:solidFill>
              </a:rPr>
              <a:t>Traduction</a:t>
            </a:r>
            <a:r>
              <a:rPr lang="en-US" dirty="0">
                <a:solidFill>
                  <a:schemeClr val="bg1"/>
                </a:solidFill>
              </a:rPr>
              <a:t> ANG-FR disponible – </a:t>
            </a:r>
            <a:r>
              <a:rPr lang="en-US" dirty="0" err="1">
                <a:solidFill>
                  <a:schemeClr val="bg1"/>
                </a:solidFill>
              </a:rPr>
              <a:t>utiliez</a:t>
            </a:r>
            <a:r>
              <a:rPr lang="en-US" dirty="0">
                <a:solidFill>
                  <a:schemeClr val="bg1"/>
                </a:solidFill>
              </a:rPr>
              <a:t> le bouton globe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0" name="Graphic 19" descr="Customer review with solid fill">
            <a:extLst>
              <a:ext uri="{FF2B5EF4-FFF2-40B4-BE49-F238E27FC236}">
                <a16:creationId xmlns:a16="http://schemas.microsoft.com/office/drawing/2014/main" id="{F78167E7-89F1-7E62-B718-1129EC1EDA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41130" y="1171222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4ADA330-4E86-549A-1C50-B8252BC2B823}"/>
              </a:ext>
            </a:extLst>
          </p:cNvPr>
          <p:cNvSpPr txBox="1"/>
          <p:nvPr/>
        </p:nvSpPr>
        <p:spPr>
          <a:xfrm>
            <a:off x="8482330" y="2089070"/>
            <a:ext cx="227964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 Q&amp;A function to post questions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fr-FR" dirty="0">
                <a:solidFill>
                  <a:schemeClr val="bg1"/>
                </a:solidFill>
              </a:rPr>
              <a:t>Utilisez la fonction Q&amp;R pour poser des questions</a:t>
            </a:r>
            <a:br>
              <a:rPr lang="fr-FR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5E0E2DA-B2CA-D950-4C77-10EB763338C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44041" y="1329378"/>
            <a:ext cx="1647188" cy="1459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3259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545925" y="3772"/>
            <a:ext cx="634517" cy="974737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85879" y="1108364"/>
            <a:ext cx="229616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Outreach</a:t>
            </a:r>
            <a:r>
              <a:rPr spc="-40" dirty="0"/>
              <a:t> </a:t>
            </a:r>
            <a:r>
              <a:rPr spc="-10" dirty="0"/>
              <a:t>activities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8066845" y="1108364"/>
            <a:ext cx="287464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005BB8"/>
                </a:solidFill>
                <a:latin typeface="Arial"/>
                <a:cs typeface="Arial"/>
              </a:rPr>
              <a:t>Capacity</a:t>
            </a:r>
            <a:r>
              <a:rPr sz="2000" b="1" spc="-65" dirty="0">
                <a:solidFill>
                  <a:srgbClr val="005BB8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5BB8"/>
                </a:solidFill>
                <a:latin typeface="Arial"/>
                <a:cs typeface="Arial"/>
              </a:rPr>
              <a:t>Strengthening</a:t>
            </a:r>
            <a:endParaRPr sz="2000">
              <a:latin typeface="Arial"/>
              <a:cs typeface="Arial"/>
            </a:endParaRPr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2384" y="0"/>
            <a:ext cx="1572920" cy="1084083"/>
          </a:xfrm>
          <a:prstGeom prst="rect">
            <a:avLst/>
          </a:prstGeom>
        </p:spPr>
      </p:pic>
      <p:graphicFrame>
        <p:nvGraphicFramePr>
          <p:cNvPr id="6" name="object 6"/>
          <p:cNvGraphicFramePr>
            <a:graphicFrameLocks noGrp="1"/>
          </p:cNvGraphicFramePr>
          <p:nvPr/>
        </p:nvGraphicFramePr>
        <p:xfrm>
          <a:off x="6386893" y="1916391"/>
          <a:ext cx="4547234" cy="24631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897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27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534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861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0350">
                <a:tc>
                  <a:txBody>
                    <a:bodyPr/>
                    <a:lstStyle/>
                    <a:p>
                      <a:pPr marR="164465" algn="r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sz="1400" b="1" dirty="0">
                          <a:solidFill>
                            <a:srgbClr val="595959"/>
                          </a:solidFill>
                          <a:latin typeface="Arial"/>
                          <a:cs typeface="Arial"/>
                        </a:rPr>
                        <a:t>Volunteers/</a:t>
                      </a:r>
                      <a:r>
                        <a:rPr sz="1400" b="1" spc="-35" dirty="0">
                          <a:solidFill>
                            <a:srgbClr val="595959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10" dirty="0">
                          <a:solidFill>
                            <a:srgbClr val="595959"/>
                          </a:solidFill>
                          <a:latin typeface="Arial"/>
                          <a:cs typeface="Arial"/>
                        </a:rPr>
                        <a:t>Mobilizer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778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0070B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0070BF"/>
                    </a:solidFill>
                  </a:tcPr>
                </a:tc>
                <a:tc>
                  <a:txBody>
                    <a:bodyPr/>
                    <a:lstStyle/>
                    <a:p>
                      <a:pPr marL="5397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400" b="1" spc="-25" dirty="0">
                          <a:solidFill>
                            <a:srgbClr val="3F3F3F"/>
                          </a:solidFill>
                          <a:latin typeface="Arial"/>
                          <a:cs typeface="Arial"/>
                        </a:rPr>
                        <a:t>63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9685" marB="0"/>
                </a:tc>
                <a:tc row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43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350">
                <a:tc>
                  <a:txBody>
                    <a:bodyPr/>
                    <a:lstStyle/>
                    <a:p>
                      <a:pPr marR="163830" algn="r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sz="1400" b="1" spc="-10" dirty="0">
                          <a:solidFill>
                            <a:srgbClr val="595959"/>
                          </a:solidFill>
                          <a:latin typeface="Arial"/>
                          <a:cs typeface="Arial"/>
                        </a:rPr>
                        <a:t>Journalist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778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0070BF"/>
                    </a:solidFill>
                  </a:tcPr>
                </a:tc>
                <a:tc>
                  <a:txBody>
                    <a:bodyPr/>
                    <a:lstStyle/>
                    <a:p>
                      <a:pPr marL="5397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400" b="1" spc="-25" dirty="0">
                          <a:solidFill>
                            <a:srgbClr val="3F3F3F"/>
                          </a:solidFill>
                          <a:latin typeface="Arial"/>
                          <a:cs typeface="Arial"/>
                        </a:rPr>
                        <a:t>25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968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370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350">
                <a:tc>
                  <a:txBody>
                    <a:bodyPr/>
                    <a:lstStyle/>
                    <a:p>
                      <a:pPr marR="163830" algn="r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sz="1400" b="1" spc="-10" dirty="0">
                          <a:solidFill>
                            <a:srgbClr val="595959"/>
                          </a:solidFill>
                          <a:latin typeface="Arial"/>
                          <a:cs typeface="Arial"/>
                        </a:rPr>
                        <a:t>Stakeholder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778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0070B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0070B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0070BF"/>
                    </a:solidFill>
                  </a:tcPr>
                </a:tc>
                <a:tc>
                  <a:txBody>
                    <a:bodyPr/>
                    <a:lstStyle/>
                    <a:p>
                      <a:pPr marL="5397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400" b="1" spc="-25" dirty="0">
                          <a:solidFill>
                            <a:srgbClr val="3F3F3F"/>
                          </a:solidFill>
                          <a:latin typeface="Arial"/>
                          <a:cs typeface="Arial"/>
                        </a:rPr>
                        <a:t>150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9685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370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0350">
                <a:tc>
                  <a:txBody>
                    <a:bodyPr/>
                    <a:lstStyle/>
                    <a:p>
                      <a:pPr marR="163830" algn="r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sz="1400" b="1" dirty="0">
                          <a:solidFill>
                            <a:srgbClr val="595959"/>
                          </a:solidFill>
                          <a:latin typeface="Arial"/>
                          <a:cs typeface="Arial"/>
                        </a:rPr>
                        <a:t>Health</a:t>
                      </a:r>
                      <a:r>
                        <a:rPr sz="1400" b="1" spc="-20" dirty="0">
                          <a:solidFill>
                            <a:srgbClr val="595959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10" dirty="0">
                          <a:solidFill>
                            <a:srgbClr val="595959"/>
                          </a:solidFill>
                          <a:latin typeface="Arial"/>
                          <a:cs typeface="Arial"/>
                        </a:rPr>
                        <a:t>worker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778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0070B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0070B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0070BF"/>
                    </a:solidFill>
                  </a:tcPr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400" b="1" spc="-25" dirty="0">
                          <a:solidFill>
                            <a:srgbClr val="3F3F3F"/>
                          </a:solidFill>
                          <a:latin typeface="Arial"/>
                          <a:cs typeface="Arial"/>
                        </a:rPr>
                        <a:t>230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9685" marB="0">
                    <a:solidFill>
                      <a:srgbClr val="0070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object 7"/>
          <p:cNvSpPr/>
          <p:nvPr/>
        </p:nvSpPr>
        <p:spPr>
          <a:xfrm>
            <a:off x="8472144" y="3879380"/>
            <a:ext cx="9525" cy="9525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0" y="4762"/>
                </a:moveTo>
                <a:lnTo>
                  <a:pt x="1394" y="1394"/>
                </a:lnTo>
                <a:lnTo>
                  <a:pt x="4762" y="0"/>
                </a:lnTo>
                <a:lnTo>
                  <a:pt x="8129" y="1394"/>
                </a:lnTo>
                <a:lnTo>
                  <a:pt x="9524" y="4762"/>
                </a:lnTo>
                <a:lnTo>
                  <a:pt x="8129" y="8129"/>
                </a:lnTo>
                <a:lnTo>
                  <a:pt x="4762" y="9524"/>
                </a:lnTo>
                <a:lnTo>
                  <a:pt x="1394" y="8129"/>
                </a:lnTo>
                <a:lnTo>
                  <a:pt x="0" y="4762"/>
                </a:lnTo>
                <a:close/>
              </a:path>
            </a:pathLst>
          </a:custGeom>
          <a:solidFill>
            <a:srgbClr val="D8D8D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8472144" y="3144405"/>
            <a:ext cx="9525" cy="9525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0" y="4762"/>
                </a:moveTo>
                <a:lnTo>
                  <a:pt x="1394" y="1394"/>
                </a:lnTo>
                <a:lnTo>
                  <a:pt x="4762" y="0"/>
                </a:lnTo>
                <a:lnTo>
                  <a:pt x="8129" y="1394"/>
                </a:lnTo>
                <a:lnTo>
                  <a:pt x="9524" y="4762"/>
                </a:lnTo>
                <a:lnTo>
                  <a:pt x="8129" y="8129"/>
                </a:lnTo>
                <a:lnTo>
                  <a:pt x="4762" y="9524"/>
                </a:lnTo>
                <a:lnTo>
                  <a:pt x="1394" y="8129"/>
                </a:lnTo>
                <a:lnTo>
                  <a:pt x="0" y="4762"/>
                </a:lnTo>
                <a:close/>
              </a:path>
            </a:pathLst>
          </a:custGeom>
          <a:solidFill>
            <a:srgbClr val="D8D8D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8472144" y="2409431"/>
            <a:ext cx="9525" cy="9525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0" y="4762"/>
                </a:moveTo>
                <a:lnTo>
                  <a:pt x="1394" y="1394"/>
                </a:lnTo>
                <a:lnTo>
                  <a:pt x="4762" y="0"/>
                </a:lnTo>
                <a:lnTo>
                  <a:pt x="8129" y="1394"/>
                </a:lnTo>
                <a:lnTo>
                  <a:pt x="9524" y="4762"/>
                </a:lnTo>
                <a:lnTo>
                  <a:pt x="8129" y="8129"/>
                </a:lnTo>
                <a:lnTo>
                  <a:pt x="4762" y="9524"/>
                </a:lnTo>
                <a:lnTo>
                  <a:pt x="1394" y="8129"/>
                </a:lnTo>
                <a:lnTo>
                  <a:pt x="0" y="4762"/>
                </a:lnTo>
                <a:close/>
              </a:path>
            </a:pathLst>
          </a:custGeom>
          <a:solidFill>
            <a:srgbClr val="D8D8D8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0" name="object 10"/>
          <p:cNvGrpSpPr/>
          <p:nvPr/>
        </p:nvGrpSpPr>
        <p:grpSpPr>
          <a:xfrm>
            <a:off x="8472144" y="1674456"/>
            <a:ext cx="9525" cy="2949575"/>
            <a:chOff x="8472144" y="1674456"/>
            <a:chExt cx="9525" cy="2949575"/>
          </a:xfrm>
        </p:grpSpPr>
        <p:sp>
          <p:nvSpPr>
            <p:cNvPr id="11" name="object 11"/>
            <p:cNvSpPr/>
            <p:nvPr/>
          </p:nvSpPr>
          <p:spPr>
            <a:xfrm>
              <a:off x="8476907" y="1679219"/>
              <a:ext cx="0" cy="2940050"/>
            </a:xfrm>
            <a:custGeom>
              <a:avLst/>
              <a:gdLst/>
              <a:ahLst/>
              <a:cxnLst/>
              <a:rect l="l" t="t" r="r" b="b"/>
              <a:pathLst>
                <a:path h="2940050">
                  <a:moveTo>
                    <a:pt x="0" y="2939897"/>
                  </a:moveTo>
                  <a:lnTo>
                    <a:pt x="0" y="0"/>
                  </a:lnTo>
                </a:path>
              </a:pathLst>
            </a:custGeom>
            <a:ln w="9524">
              <a:solidFill>
                <a:srgbClr val="D8D8D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8472145" y="1674469"/>
              <a:ext cx="9525" cy="2949575"/>
            </a:xfrm>
            <a:custGeom>
              <a:avLst/>
              <a:gdLst/>
              <a:ahLst/>
              <a:cxnLst/>
              <a:rect l="l" t="t" r="r" b="b"/>
              <a:pathLst>
                <a:path w="9525" h="2949575">
                  <a:moveTo>
                    <a:pt x="9512" y="2944647"/>
                  </a:moveTo>
                  <a:lnTo>
                    <a:pt x="8128" y="2941282"/>
                  </a:lnTo>
                  <a:lnTo>
                    <a:pt x="4762" y="2939897"/>
                  </a:lnTo>
                  <a:lnTo>
                    <a:pt x="1384" y="2941282"/>
                  </a:lnTo>
                  <a:lnTo>
                    <a:pt x="0" y="2944647"/>
                  </a:lnTo>
                  <a:lnTo>
                    <a:pt x="1384" y="2948025"/>
                  </a:lnTo>
                  <a:lnTo>
                    <a:pt x="4762" y="2949410"/>
                  </a:lnTo>
                  <a:lnTo>
                    <a:pt x="8128" y="2948025"/>
                  </a:lnTo>
                  <a:lnTo>
                    <a:pt x="9512" y="2944647"/>
                  </a:lnTo>
                  <a:close/>
                </a:path>
                <a:path w="9525" h="2949575">
                  <a:moveTo>
                    <a:pt x="9512" y="4749"/>
                  </a:moveTo>
                  <a:lnTo>
                    <a:pt x="8128" y="1384"/>
                  </a:lnTo>
                  <a:lnTo>
                    <a:pt x="4762" y="0"/>
                  </a:lnTo>
                  <a:lnTo>
                    <a:pt x="1384" y="1384"/>
                  </a:lnTo>
                  <a:lnTo>
                    <a:pt x="0" y="4749"/>
                  </a:lnTo>
                  <a:lnTo>
                    <a:pt x="1384" y="8128"/>
                  </a:lnTo>
                  <a:lnTo>
                    <a:pt x="4762" y="9512"/>
                  </a:lnTo>
                  <a:lnTo>
                    <a:pt x="8128" y="8128"/>
                  </a:lnTo>
                  <a:lnTo>
                    <a:pt x="9512" y="4749"/>
                  </a:lnTo>
                  <a:close/>
                </a:path>
              </a:pathLst>
            </a:custGeom>
            <a:solidFill>
              <a:srgbClr val="D8D8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" name="object 13"/>
          <p:cNvGrpSpPr/>
          <p:nvPr/>
        </p:nvGrpSpPr>
        <p:grpSpPr>
          <a:xfrm>
            <a:off x="824337" y="2829331"/>
            <a:ext cx="4759960" cy="1297305"/>
            <a:chOff x="824337" y="2829331"/>
            <a:chExt cx="4759960" cy="1297305"/>
          </a:xfrm>
        </p:grpSpPr>
        <p:sp>
          <p:nvSpPr>
            <p:cNvPr id="14" name="object 14"/>
            <p:cNvSpPr/>
            <p:nvPr/>
          </p:nvSpPr>
          <p:spPr>
            <a:xfrm>
              <a:off x="1100848" y="2829343"/>
              <a:ext cx="4206875" cy="1283335"/>
            </a:xfrm>
            <a:custGeom>
              <a:avLst/>
              <a:gdLst/>
              <a:ahLst/>
              <a:cxnLst/>
              <a:rect l="l" t="t" r="r" b="b"/>
              <a:pathLst>
                <a:path w="4206875" h="1283335">
                  <a:moveTo>
                    <a:pt x="248170" y="0"/>
                  </a:moveTo>
                  <a:lnTo>
                    <a:pt x="0" y="0"/>
                  </a:lnTo>
                  <a:lnTo>
                    <a:pt x="0" y="1282903"/>
                  </a:lnTo>
                  <a:lnTo>
                    <a:pt x="248170" y="1282903"/>
                  </a:lnTo>
                  <a:lnTo>
                    <a:pt x="248170" y="0"/>
                  </a:lnTo>
                  <a:close/>
                </a:path>
                <a:path w="4206875" h="1283335">
                  <a:moveTo>
                    <a:pt x="1039850" y="168973"/>
                  </a:moveTo>
                  <a:lnTo>
                    <a:pt x="791679" y="168973"/>
                  </a:lnTo>
                  <a:lnTo>
                    <a:pt x="791679" y="1282903"/>
                  </a:lnTo>
                  <a:lnTo>
                    <a:pt x="1039850" y="1282903"/>
                  </a:lnTo>
                  <a:lnTo>
                    <a:pt x="1039850" y="168973"/>
                  </a:lnTo>
                  <a:close/>
                </a:path>
                <a:path w="4206875" h="1283335">
                  <a:moveTo>
                    <a:pt x="1831530" y="547458"/>
                  </a:moveTo>
                  <a:lnTo>
                    <a:pt x="1583359" y="547458"/>
                  </a:lnTo>
                  <a:lnTo>
                    <a:pt x="1583359" y="1282903"/>
                  </a:lnTo>
                  <a:lnTo>
                    <a:pt x="1831530" y="1282903"/>
                  </a:lnTo>
                  <a:lnTo>
                    <a:pt x="1831530" y="547458"/>
                  </a:lnTo>
                  <a:close/>
                </a:path>
                <a:path w="4206875" h="1283335">
                  <a:moveTo>
                    <a:pt x="2623210" y="644855"/>
                  </a:moveTo>
                  <a:lnTo>
                    <a:pt x="2375039" y="644855"/>
                  </a:lnTo>
                  <a:lnTo>
                    <a:pt x="2375039" y="1282903"/>
                  </a:lnTo>
                  <a:lnTo>
                    <a:pt x="2623210" y="1282903"/>
                  </a:lnTo>
                  <a:lnTo>
                    <a:pt x="2623210" y="644855"/>
                  </a:lnTo>
                  <a:close/>
                </a:path>
                <a:path w="4206875" h="1283335">
                  <a:moveTo>
                    <a:pt x="3414890" y="553732"/>
                  </a:moveTo>
                  <a:lnTo>
                    <a:pt x="3166707" y="553732"/>
                  </a:lnTo>
                  <a:lnTo>
                    <a:pt x="3166707" y="1282903"/>
                  </a:lnTo>
                  <a:lnTo>
                    <a:pt x="3414890" y="1282903"/>
                  </a:lnTo>
                  <a:lnTo>
                    <a:pt x="3414890" y="553732"/>
                  </a:lnTo>
                  <a:close/>
                </a:path>
                <a:path w="4206875" h="1283335">
                  <a:moveTo>
                    <a:pt x="4206570" y="604469"/>
                  </a:moveTo>
                  <a:lnTo>
                    <a:pt x="3958386" y="604469"/>
                  </a:lnTo>
                  <a:lnTo>
                    <a:pt x="3958386" y="1282903"/>
                  </a:lnTo>
                  <a:lnTo>
                    <a:pt x="4206570" y="1282903"/>
                  </a:lnTo>
                  <a:lnTo>
                    <a:pt x="4206570" y="604469"/>
                  </a:lnTo>
                  <a:close/>
                </a:path>
              </a:pathLst>
            </a:custGeom>
            <a:solidFill>
              <a:srgbClr val="0070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829099" y="4121759"/>
              <a:ext cx="4750435" cy="0"/>
            </a:xfrm>
            <a:custGeom>
              <a:avLst/>
              <a:gdLst/>
              <a:ahLst/>
              <a:cxnLst/>
              <a:rect l="l" t="t" r="r" b="b"/>
              <a:pathLst>
                <a:path w="4750435">
                  <a:moveTo>
                    <a:pt x="0" y="0"/>
                  </a:moveTo>
                  <a:lnTo>
                    <a:pt x="4750064" y="0"/>
                  </a:lnTo>
                </a:path>
              </a:pathLst>
            </a:custGeom>
            <a:ln w="9524">
              <a:solidFill>
                <a:srgbClr val="D8D8D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824331" y="4117009"/>
              <a:ext cx="4759960" cy="9525"/>
            </a:xfrm>
            <a:custGeom>
              <a:avLst/>
              <a:gdLst/>
              <a:ahLst/>
              <a:cxnLst/>
              <a:rect l="l" t="t" r="r" b="b"/>
              <a:pathLst>
                <a:path w="4759960" h="9525">
                  <a:moveTo>
                    <a:pt x="9525" y="4749"/>
                  </a:moveTo>
                  <a:lnTo>
                    <a:pt x="8128" y="1384"/>
                  </a:lnTo>
                  <a:lnTo>
                    <a:pt x="4762" y="0"/>
                  </a:lnTo>
                  <a:lnTo>
                    <a:pt x="1397" y="1384"/>
                  </a:lnTo>
                  <a:lnTo>
                    <a:pt x="0" y="4749"/>
                  </a:lnTo>
                  <a:lnTo>
                    <a:pt x="1397" y="8128"/>
                  </a:lnTo>
                  <a:lnTo>
                    <a:pt x="4762" y="9512"/>
                  </a:lnTo>
                  <a:lnTo>
                    <a:pt x="8128" y="8128"/>
                  </a:lnTo>
                  <a:lnTo>
                    <a:pt x="9525" y="4749"/>
                  </a:lnTo>
                  <a:close/>
                </a:path>
                <a:path w="4759960" h="9525">
                  <a:moveTo>
                    <a:pt x="801204" y="4749"/>
                  </a:moveTo>
                  <a:lnTo>
                    <a:pt x="799807" y="1384"/>
                  </a:lnTo>
                  <a:lnTo>
                    <a:pt x="796442" y="0"/>
                  </a:lnTo>
                  <a:lnTo>
                    <a:pt x="793076" y="1384"/>
                  </a:lnTo>
                  <a:lnTo>
                    <a:pt x="791679" y="4749"/>
                  </a:lnTo>
                  <a:lnTo>
                    <a:pt x="793076" y="8128"/>
                  </a:lnTo>
                  <a:lnTo>
                    <a:pt x="796442" y="9512"/>
                  </a:lnTo>
                  <a:lnTo>
                    <a:pt x="799807" y="8128"/>
                  </a:lnTo>
                  <a:lnTo>
                    <a:pt x="801204" y="4749"/>
                  </a:lnTo>
                  <a:close/>
                </a:path>
                <a:path w="4759960" h="9525">
                  <a:moveTo>
                    <a:pt x="1592884" y="4749"/>
                  </a:moveTo>
                  <a:lnTo>
                    <a:pt x="1591487" y="1384"/>
                  </a:lnTo>
                  <a:lnTo>
                    <a:pt x="1588122" y="0"/>
                  </a:lnTo>
                  <a:lnTo>
                    <a:pt x="1584756" y="1384"/>
                  </a:lnTo>
                  <a:lnTo>
                    <a:pt x="1583359" y="4749"/>
                  </a:lnTo>
                  <a:lnTo>
                    <a:pt x="1584756" y="8128"/>
                  </a:lnTo>
                  <a:lnTo>
                    <a:pt x="1588122" y="9512"/>
                  </a:lnTo>
                  <a:lnTo>
                    <a:pt x="1591487" y="8128"/>
                  </a:lnTo>
                  <a:lnTo>
                    <a:pt x="1592884" y="4749"/>
                  </a:lnTo>
                  <a:close/>
                </a:path>
                <a:path w="4759960" h="9525">
                  <a:moveTo>
                    <a:pt x="2384564" y="4749"/>
                  </a:moveTo>
                  <a:lnTo>
                    <a:pt x="2383167" y="1384"/>
                  </a:lnTo>
                  <a:lnTo>
                    <a:pt x="2379802" y="0"/>
                  </a:lnTo>
                  <a:lnTo>
                    <a:pt x="2376436" y="1384"/>
                  </a:lnTo>
                  <a:lnTo>
                    <a:pt x="2375039" y="4749"/>
                  </a:lnTo>
                  <a:lnTo>
                    <a:pt x="2376436" y="8128"/>
                  </a:lnTo>
                  <a:lnTo>
                    <a:pt x="2379802" y="9512"/>
                  </a:lnTo>
                  <a:lnTo>
                    <a:pt x="2383167" y="8128"/>
                  </a:lnTo>
                  <a:lnTo>
                    <a:pt x="2384564" y="4749"/>
                  </a:lnTo>
                  <a:close/>
                </a:path>
                <a:path w="4759960" h="9525">
                  <a:moveTo>
                    <a:pt x="3176244" y="4749"/>
                  </a:moveTo>
                  <a:lnTo>
                    <a:pt x="3174847" y="1384"/>
                  </a:lnTo>
                  <a:lnTo>
                    <a:pt x="3171482" y="0"/>
                  </a:lnTo>
                  <a:lnTo>
                    <a:pt x="3168116" y="1384"/>
                  </a:lnTo>
                  <a:lnTo>
                    <a:pt x="3166719" y="4749"/>
                  </a:lnTo>
                  <a:lnTo>
                    <a:pt x="3168116" y="8128"/>
                  </a:lnTo>
                  <a:lnTo>
                    <a:pt x="3171482" y="9512"/>
                  </a:lnTo>
                  <a:lnTo>
                    <a:pt x="3174847" y="8128"/>
                  </a:lnTo>
                  <a:lnTo>
                    <a:pt x="3176244" y="4749"/>
                  </a:lnTo>
                  <a:close/>
                </a:path>
                <a:path w="4759960" h="9525">
                  <a:moveTo>
                    <a:pt x="3967924" y="4749"/>
                  </a:moveTo>
                  <a:lnTo>
                    <a:pt x="3966527" y="1384"/>
                  </a:lnTo>
                  <a:lnTo>
                    <a:pt x="3963162" y="0"/>
                  </a:lnTo>
                  <a:lnTo>
                    <a:pt x="3959796" y="1384"/>
                  </a:lnTo>
                  <a:lnTo>
                    <a:pt x="3958399" y="4749"/>
                  </a:lnTo>
                  <a:lnTo>
                    <a:pt x="3959796" y="8128"/>
                  </a:lnTo>
                  <a:lnTo>
                    <a:pt x="3963162" y="9512"/>
                  </a:lnTo>
                  <a:lnTo>
                    <a:pt x="3966527" y="8128"/>
                  </a:lnTo>
                  <a:lnTo>
                    <a:pt x="3967924" y="4749"/>
                  </a:lnTo>
                  <a:close/>
                </a:path>
                <a:path w="4759960" h="9525">
                  <a:moveTo>
                    <a:pt x="4759591" y="4749"/>
                  </a:moveTo>
                  <a:lnTo>
                    <a:pt x="4758194" y="1384"/>
                  </a:lnTo>
                  <a:lnTo>
                    <a:pt x="4754829" y="0"/>
                  </a:lnTo>
                  <a:lnTo>
                    <a:pt x="4751463" y="1384"/>
                  </a:lnTo>
                  <a:lnTo>
                    <a:pt x="4750066" y="4749"/>
                  </a:lnTo>
                  <a:lnTo>
                    <a:pt x="4751463" y="8128"/>
                  </a:lnTo>
                  <a:lnTo>
                    <a:pt x="4754829" y="9512"/>
                  </a:lnTo>
                  <a:lnTo>
                    <a:pt x="4758194" y="8128"/>
                  </a:lnTo>
                  <a:lnTo>
                    <a:pt x="4759591" y="4749"/>
                  </a:lnTo>
                  <a:close/>
                </a:path>
              </a:pathLst>
            </a:custGeom>
            <a:solidFill>
              <a:srgbClr val="D8D8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979106" y="2581226"/>
            <a:ext cx="1311910" cy="4083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505"/>
              </a:lnSpc>
              <a:spcBef>
                <a:spcPts val="100"/>
              </a:spcBef>
            </a:pPr>
            <a:r>
              <a:rPr sz="1400" b="1" spc="-10" dirty="0">
                <a:solidFill>
                  <a:srgbClr val="3F3F3F"/>
                </a:solidFill>
                <a:latin typeface="Arial"/>
                <a:cs typeface="Arial"/>
              </a:rPr>
              <a:t>14212</a:t>
            </a:r>
            <a:endParaRPr sz="1400">
              <a:latin typeface="Arial"/>
              <a:cs typeface="Arial"/>
            </a:endParaRPr>
          </a:p>
          <a:p>
            <a:pPr marL="803910">
              <a:lnSpc>
                <a:spcPts val="1505"/>
              </a:lnSpc>
            </a:pPr>
            <a:r>
              <a:rPr sz="1400" b="1" spc="-10" dirty="0">
                <a:solidFill>
                  <a:srgbClr val="3F3F3F"/>
                </a:solidFill>
                <a:latin typeface="Arial"/>
                <a:cs typeface="Arial"/>
              </a:rPr>
              <a:t>12354</a:t>
            </a:r>
            <a:endParaRPr sz="14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611902" y="3128679"/>
            <a:ext cx="42100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0" dirty="0">
                <a:solidFill>
                  <a:srgbClr val="3F3F3F"/>
                </a:solidFill>
                <a:latin typeface="Arial"/>
                <a:cs typeface="Arial"/>
              </a:rPr>
              <a:t>8192</a:t>
            </a:r>
            <a:endParaRPr sz="14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403582" y="3226074"/>
            <a:ext cx="42100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0" dirty="0">
                <a:solidFill>
                  <a:srgbClr val="3F3F3F"/>
                </a:solidFill>
                <a:latin typeface="Arial"/>
                <a:cs typeface="Arial"/>
              </a:rPr>
              <a:t>7121</a:t>
            </a:r>
            <a:endParaRPr sz="14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195262" y="3134954"/>
            <a:ext cx="42100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0" dirty="0">
                <a:solidFill>
                  <a:srgbClr val="3F3F3F"/>
                </a:solidFill>
                <a:latin typeface="Arial"/>
                <a:cs typeface="Arial"/>
              </a:rPr>
              <a:t>8123</a:t>
            </a:r>
            <a:endParaRPr sz="14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986942" y="3185698"/>
            <a:ext cx="42100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0" dirty="0">
                <a:solidFill>
                  <a:srgbClr val="3F3F3F"/>
                </a:solidFill>
                <a:latin typeface="Arial"/>
                <a:cs typeface="Arial"/>
              </a:rPr>
              <a:t>7565</a:t>
            </a:r>
            <a:endParaRPr sz="14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96013" y="4272940"/>
            <a:ext cx="65786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Penta</a:t>
            </a:r>
            <a:r>
              <a:rPr sz="1400" b="1" spc="-20" dirty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sz="1400" b="1" spc="-50" dirty="0">
                <a:solidFill>
                  <a:srgbClr val="595959"/>
                </a:solidFill>
                <a:latin typeface="Arial"/>
                <a:cs typeface="Arial"/>
              </a:rPr>
              <a:t>1</a:t>
            </a:r>
            <a:endParaRPr sz="14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687691" y="4272940"/>
            <a:ext cx="3888740" cy="4521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12925" marR="5080" indent="-1800860">
              <a:lnSpc>
                <a:spcPct val="100000"/>
              </a:lnSpc>
              <a:spcBef>
                <a:spcPts val="100"/>
              </a:spcBef>
              <a:tabLst>
                <a:tab pos="937260" algn="l"/>
                <a:tab pos="1600835" algn="l"/>
              </a:tabLst>
            </a:pP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Penta</a:t>
            </a:r>
            <a:r>
              <a:rPr sz="1400" b="1" spc="-20" dirty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sz="1400" b="1" spc="-50" dirty="0">
                <a:solidFill>
                  <a:srgbClr val="595959"/>
                </a:solidFill>
                <a:latin typeface="Arial"/>
                <a:cs typeface="Arial"/>
              </a:rPr>
              <a:t>3</a:t>
            </a: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	</a:t>
            </a:r>
            <a:r>
              <a:rPr sz="1400" b="1" spc="-25" dirty="0">
                <a:solidFill>
                  <a:srgbClr val="595959"/>
                </a:solidFill>
                <a:latin typeface="Arial"/>
                <a:cs typeface="Arial"/>
              </a:rPr>
              <a:t>HPV</a:t>
            </a: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	COVID-</a:t>
            </a:r>
            <a:r>
              <a:rPr sz="1400" b="1" spc="340" dirty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Malaria</a:t>
            </a:r>
            <a:r>
              <a:rPr sz="1400" b="1" spc="-15" dirty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1</a:t>
            </a:r>
            <a:r>
              <a:rPr sz="1400" b="1" spc="-145" dirty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595959"/>
                </a:solidFill>
                <a:latin typeface="Arial"/>
                <a:cs typeface="Arial"/>
              </a:rPr>
              <a:t>Malaria</a:t>
            </a:r>
            <a:r>
              <a:rPr sz="1400" b="1" spc="-20" dirty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sz="1400" b="1" spc="-50" dirty="0">
                <a:solidFill>
                  <a:srgbClr val="595959"/>
                </a:solidFill>
                <a:latin typeface="Arial"/>
                <a:cs typeface="Arial"/>
              </a:rPr>
              <a:t>3 </a:t>
            </a:r>
            <a:r>
              <a:rPr sz="1400" b="1" spc="-25" dirty="0">
                <a:solidFill>
                  <a:srgbClr val="595959"/>
                </a:solidFill>
                <a:latin typeface="Arial"/>
                <a:cs typeface="Arial"/>
              </a:rPr>
              <a:t>19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7925" rIns="0" bIns="0" rtlCol="0">
            <a:spAutoFit/>
          </a:bodyPr>
          <a:lstStyle/>
          <a:p>
            <a:pPr marL="119380" marR="5080">
              <a:lnSpc>
                <a:spcPts val="2160"/>
              </a:lnSpc>
              <a:spcBef>
                <a:spcPts val="370"/>
              </a:spcBef>
            </a:pPr>
            <a:r>
              <a:rPr dirty="0"/>
              <a:t>SLRCS</a:t>
            </a:r>
            <a:r>
              <a:rPr spc="-35" dirty="0"/>
              <a:t> </a:t>
            </a:r>
            <a:r>
              <a:rPr dirty="0"/>
              <a:t>–</a:t>
            </a:r>
            <a:r>
              <a:rPr spc="-35" dirty="0"/>
              <a:t> </a:t>
            </a:r>
            <a:r>
              <a:rPr dirty="0"/>
              <a:t>contribute</a:t>
            </a:r>
            <a:r>
              <a:rPr spc="-30" dirty="0"/>
              <a:t> </a:t>
            </a:r>
            <a:r>
              <a:rPr dirty="0"/>
              <a:t>to</a:t>
            </a:r>
            <a:r>
              <a:rPr spc="-35" dirty="0"/>
              <a:t> </a:t>
            </a:r>
            <a:r>
              <a:rPr dirty="0"/>
              <a:t>the</a:t>
            </a:r>
            <a:r>
              <a:rPr spc="-35" dirty="0"/>
              <a:t> </a:t>
            </a:r>
            <a:r>
              <a:rPr dirty="0"/>
              <a:t>reduction</a:t>
            </a:r>
            <a:r>
              <a:rPr spc="-30" dirty="0"/>
              <a:t> </a:t>
            </a:r>
            <a:r>
              <a:rPr dirty="0"/>
              <a:t>of</a:t>
            </a:r>
            <a:r>
              <a:rPr spc="-35" dirty="0"/>
              <a:t> </a:t>
            </a:r>
            <a:r>
              <a:rPr dirty="0"/>
              <a:t>the</a:t>
            </a:r>
            <a:r>
              <a:rPr spc="-35" dirty="0"/>
              <a:t> </a:t>
            </a:r>
            <a:r>
              <a:rPr dirty="0"/>
              <a:t>number</a:t>
            </a:r>
            <a:r>
              <a:rPr spc="-30" dirty="0"/>
              <a:t> </a:t>
            </a:r>
            <a:r>
              <a:rPr dirty="0"/>
              <a:t>of</a:t>
            </a:r>
            <a:r>
              <a:rPr spc="-35" dirty="0"/>
              <a:t> </a:t>
            </a:r>
            <a:r>
              <a:rPr spc="-10" dirty="0"/>
              <a:t>zero-</a:t>
            </a:r>
            <a:r>
              <a:rPr dirty="0"/>
              <a:t>dose</a:t>
            </a:r>
            <a:r>
              <a:rPr spc="-35" dirty="0"/>
              <a:t> </a:t>
            </a:r>
            <a:r>
              <a:rPr dirty="0"/>
              <a:t>children</a:t>
            </a:r>
            <a:r>
              <a:rPr spc="-40" dirty="0"/>
              <a:t> </a:t>
            </a:r>
            <a:r>
              <a:rPr spc="-25" dirty="0"/>
              <a:t>in </a:t>
            </a:r>
            <a:r>
              <a:rPr dirty="0"/>
              <a:t>collaboration</a:t>
            </a:r>
            <a:r>
              <a:rPr spc="-30" dirty="0"/>
              <a:t> </a:t>
            </a:r>
            <a:r>
              <a:rPr dirty="0"/>
              <a:t>with</a:t>
            </a:r>
            <a:r>
              <a:rPr spc="-30" dirty="0"/>
              <a:t> </a:t>
            </a:r>
            <a:r>
              <a:rPr dirty="0"/>
              <a:t>community</a:t>
            </a:r>
            <a:r>
              <a:rPr spc="-30" dirty="0"/>
              <a:t> </a:t>
            </a:r>
            <a:r>
              <a:rPr dirty="0"/>
              <a:t>actors</a:t>
            </a:r>
            <a:r>
              <a:rPr spc="-30" dirty="0"/>
              <a:t> </a:t>
            </a:r>
            <a:r>
              <a:rPr dirty="0"/>
              <a:t>in</a:t>
            </a:r>
            <a:r>
              <a:rPr spc="-30" dirty="0"/>
              <a:t> </a:t>
            </a:r>
            <a:r>
              <a:rPr dirty="0"/>
              <a:t>Five</a:t>
            </a:r>
            <a:r>
              <a:rPr spc="-30" dirty="0"/>
              <a:t> </a:t>
            </a:r>
            <a:r>
              <a:rPr dirty="0"/>
              <a:t>Districts</a:t>
            </a:r>
            <a:r>
              <a:rPr spc="-30" dirty="0"/>
              <a:t> </a:t>
            </a:r>
            <a:r>
              <a:rPr dirty="0"/>
              <a:t>in</a:t>
            </a:r>
            <a:r>
              <a:rPr spc="-30" dirty="0"/>
              <a:t> </a:t>
            </a:r>
            <a:r>
              <a:rPr dirty="0"/>
              <a:t>Sierra</a:t>
            </a:r>
            <a:r>
              <a:rPr spc="-30" dirty="0"/>
              <a:t> </a:t>
            </a:r>
            <a:r>
              <a:rPr spc="-10" dirty="0"/>
              <a:t>Leon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619978" y="1550657"/>
            <a:ext cx="3473450" cy="458470"/>
          </a:xfrm>
          <a:prstGeom prst="rect">
            <a:avLst/>
          </a:prstGeom>
          <a:solidFill>
            <a:srgbClr val="0070BF"/>
          </a:solidFill>
        </p:spPr>
        <p:txBody>
          <a:bodyPr vert="horz" wrap="square" lIns="0" tIns="15621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1230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Project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wins</a:t>
            </a: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and</a:t>
            </a: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success</a:t>
            </a:r>
            <a:endParaRPr sz="14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38959" y="2065248"/>
            <a:ext cx="2861945" cy="2080260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20320" rIns="0" bIns="0" rtlCol="0">
            <a:spAutoFit/>
          </a:bodyPr>
          <a:lstStyle/>
          <a:p>
            <a:pPr marL="91440" marR="206375">
              <a:lnSpc>
                <a:spcPct val="110000"/>
              </a:lnSpc>
              <a:spcBef>
                <a:spcPts val="160"/>
              </a:spcBef>
            </a:pPr>
            <a:r>
              <a:rPr sz="1400" dirty="0">
                <a:latin typeface="Arial"/>
                <a:cs typeface="Arial"/>
              </a:rPr>
              <a:t>Strong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artnership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established </a:t>
            </a:r>
            <a:r>
              <a:rPr sz="1400" dirty="0">
                <a:latin typeface="Arial"/>
                <a:cs typeface="Arial"/>
              </a:rPr>
              <a:t>with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istrict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ealth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Management </a:t>
            </a:r>
            <a:r>
              <a:rPr sz="1400" dirty="0">
                <a:latin typeface="Arial"/>
                <a:cs typeface="Arial"/>
              </a:rPr>
              <a:t>Team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(DHMT)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10" dirty="0">
                <a:latin typeface="Arial"/>
                <a:cs typeface="Arial"/>
              </a:rPr>
              <a:t> Expanded </a:t>
            </a:r>
            <a:r>
              <a:rPr sz="1400" dirty="0">
                <a:latin typeface="Arial"/>
                <a:cs typeface="Arial"/>
              </a:rPr>
              <a:t>Program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mmunizatio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(EPI).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31524" y="4235754"/>
            <a:ext cx="2861945" cy="2115820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20320" rIns="0" bIns="0" rtlCol="0">
            <a:spAutoFit/>
          </a:bodyPr>
          <a:lstStyle/>
          <a:p>
            <a:pPr marL="90805" marR="235585">
              <a:lnSpc>
                <a:spcPct val="110000"/>
              </a:lnSpc>
              <a:spcBef>
                <a:spcPts val="160"/>
              </a:spcBef>
            </a:pPr>
            <a:r>
              <a:rPr sz="1400" dirty="0">
                <a:latin typeface="Arial"/>
                <a:cs typeface="Arial"/>
              </a:rPr>
              <a:t>Notable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creas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routine </a:t>
            </a:r>
            <a:r>
              <a:rPr sz="1400" dirty="0">
                <a:latin typeface="Arial"/>
                <a:cs typeface="Arial"/>
              </a:rPr>
              <a:t>immunization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verage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five </a:t>
            </a:r>
            <a:r>
              <a:rPr sz="1400" dirty="0">
                <a:latin typeface="Arial"/>
                <a:cs typeface="Arial"/>
              </a:rPr>
              <a:t>project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istricts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vaccinating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90% </a:t>
            </a:r>
            <a:r>
              <a:rPr sz="1400" dirty="0">
                <a:latin typeface="Arial"/>
                <a:cs typeface="Arial"/>
              </a:rPr>
              <a:t>of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zero-</a:t>
            </a:r>
            <a:r>
              <a:rPr sz="1400" dirty="0">
                <a:latin typeface="Arial"/>
                <a:cs typeface="Arial"/>
              </a:rPr>
              <a:t>dose and </a:t>
            </a:r>
            <a:r>
              <a:rPr sz="1400" spc="-10" dirty="0">
                <a:latin typeface="Arial"/>
                <a:cs typeface="Arial"/>
              </a:rPr>
              <a:t>under </a:t>
            </a:r>
            <a:r>
              <a:rPr sz="1400" dirty="0">
                <a:latin typeface="Arial"/>
                <a:cs typeface="Arial"/>
              </a:rPr>
              <a:t>immunized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children.</a:t>
            </a:r>
            <a:endParaRPr sz="14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19978" y="2094306"/>
            <a:ext cx="434975" cy="87693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3683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29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32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19978" y="4236173"/>
            <a:ext cx="434975" cy="87693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3683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29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32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312602" y="1551927"/>
            <a:ext cx="3473450" cy="458470"/>
          </a:xfrm>
          <a:prstGeom prst="rect">
            <a:avLst/>
          </a:prstGeom>
          <a:solidFill>
            <a:srgbClr val="00B0F0"/>
          </a:solidFill>
        </p:spPr>
        <p:txBody>
          <a:bodyPr vert="horz" wrap="square" lIns="0" tIns="15621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1230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Key</a:t>
            </a:r>
            <a:r>
              <a:rPr sz="14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challenges</a:t>
            </a:r>
            <a:r>
              <a:rPr sz="14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fac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924145" y="2095576"/>
            <a:ext cx="2861945" cy="2080260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20320" rIns="0" bIns="0" rtlCol="0">
            <a:spAutoFit/>
          </a:bodyPr>
          <a:lstStyle/>
          <a:p>
            <a:pPr marL="90805" marR="85725">
              <a:lnSpc>
                <a:spcPct val="110000"/>
              </a:lnSpc>
              <a:spcBef>
                <a:spcPts val="160"/>
              </a:spcBef>
            </a:pPr>
            <a:r>
              <a:rPr sz="1400" dirty="0">
                <a:latin typeface="Arial"/>
                <a:cs typeface="Arial"/>
              </a:rPr>
              <a:t>Reaching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mot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10" dirty="0">
                <a:latin typeface="Arial"/>
                <a:cs typeface="Arial"/>
              </a:rPr>
              <a:t> hard-</a:t>
            </a:r>
            <a:r>
              <a:rPr sz="1400" spc="-25" dirty="0">
                <a:latin typeface="Arial"/>
                <a:cs typeface="Arial"/>
              </a:rPr>
              <a:t>to- </a:t>
            </a:r>
            <a:r>
              <a:rPr sz="1400" dirty="0">
                <a:latin typeface="Arial"/>
                <a:cs typeface="Arial"/>
              </a:rPr>
              <a:t>reach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munitie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wa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physically </a:t>
            </a:r>
            <a:r>
              <a:rPr sz="1400" dirty="0">
                <a:latin typeface="Arial"/>
                <a:cs typeface="Arial"/>
              </a:rPr>
              <a:t>challenging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u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oor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road </a:t>
            </a:r>
            <a:r>
              <a:rPr sz="1400" dirty="0">
                <a:latin typeface="Arial"/>
                <a:cs typeface="Arial"/>
              </a:rPr>
              <a:t>network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ck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f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motorbikes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oat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indered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timely</a:t>
            </a:r>
            <a:r>
              <a:rPr sz="1400" spc="50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access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312602" y="2095576"/>
            <a:ext cx="434975" cy="87693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3683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29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312602" y="4237431"/>
            <a:ext cx="434975" cy="87693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3683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29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32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005229" y="1553184"/>
            <a:ext cx="4055110" cy="458470"/>
          </a:xfrm>
          <a:prstGeom prst="rect">
            <a:avLst/>
          </a:prstGeom>
          <a:solidFill>
            <a:srgbClr val="BFBFBF"/>
          </a:solidFill>
        </p:spPr>
        <p:txBody>
          <a:bodyPr vert="horz" wrap="square" lIns="0" tIns="15621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1230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commendation</a:t>
            </a:r>
            <a:r>
              <a:rPr sz="14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to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Gavi</a:t>
            </a:r>
            <a:r>
              <a:rPr sz="14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for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 6.0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8719159" y="4240695"/>
            <a:ext cx="3341370" cy="2080260"/>
          </a:xfrm>
          <a:custGeom>
            <a:avLst/>
            <a:gdLst/>
            <a:ahLst/>
            <a:cxnLst/>
            <a:rect l="l" t="t" r="r" b="b"/>
            <a:pathLst>
              <a:path w="3341370" h="2080260">
                <a:moveTo>
                  <a:pt x="3340925" y="0"/>
                </a:moveTo>
                <a:lnTo>
                  <a:pt x="0" y="0"/>
                </a:lnTo>
                <a:lnTo>
                  <a:pt x="0" y="2080247"/>
                </a:lnTo>
                <a:lnTo>
                  <a:pt x="3340925" y="2080247"/>
                </a:lnTo>
                <a:lnTo>
                  <a:pt x="3340925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8005229" y="2065248"/>
            <a:ext cx="392430" cy="87693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3683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29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32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005229" y="4207116"/>
            <a:ext cx="434975" cy="87693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3683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29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32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924145" y="4271009"/>
            <a:ext cx="2861945" cy="2080260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8255" rIns="0" bIns="0" rtlCol="0">
            <a:spAutoFit/>
          </a:bodyPr>
          <a:lstStyle/>
          <a:p>
            <a:pPr marL="59055" marR="165735">
              <a:lnSpc>
                <a:spcPct val="100000"/>
              </a:lnSpc>
              <a:spcBef>
                <a:spcPts val="65"/>
              </a:spcBef>
            </a:pPr>
            <a:r>
              <a:rPr sz="1400" dirty="0">
                <a:latin typeface="Arial"/>
                <a:cs typeface="Arial"/>
              </a:rPr>
              <a:t>Insufficient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ld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hain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equipment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vaccin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upplie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ffecte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the </a:t>
            </a:r>
            <a:r>
              <a:rPr sz="1400" dirty="0">
                <a:latin typeface="Arial"/>
                <a:cs typeface="Arial"/>
              </a:rPr>
              <a:t>smooth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livery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f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immunization services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719159" y="2065248"/>
            <a:ext cx="3341370" cy="2080260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111125" rIns="0" bIns="0" rtlCol="0">
            <a:spAutoFit/>
          </a:bodyPr>
          <a:lstStyle/>
          <a:p>
            <a:pPr marR="558165">
              <a:lnSpc>
                <a:spcPct val="100000"/>
              </a:lnSpc>
              <a:spcBef>
                <a:spcPts val="875"/>
              </a:spcBef>
            </a:pPr>
            <a:r>
              <a:rPr sz="1400" dirty="0">
                <a:latin typeface="Arial"/>
                <a:cs typeface="Arial"/>
              </a:rPr>
              <a:t>Provide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otorbikes,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icycles,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or </a:t>
            </a:r>
            <a:r>
              <a:rPr sz="1400" dirty="0">
                <a:latin typeface="Arial"/>
                <a:cs typeface="Arial"/>
              </a:rPr>
              <a:t>boat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utreach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eams,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especially </a:t>
            </a:r>
            <a:r>
              <a:rPr sz="1400" dirty="0">
                <a:latin typeface="Arial"/>
                <a:cs typeface="Arial"/>
              </a:rPr>
              <a:t>in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istricts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with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ifficult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terrain.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70"/>
              </a:spcBef>
            </a:pPr>
            <a:endParaRPr sz="1400">
              <a:latin typeface="Arial"/>
              <a:cs typeface="Arial"/>
            </a:endParaRPr>
          </a:p>
          <a:p>
            <a:pPr marR="75692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Invest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igitalisation</a:t>
            </a:r>
            <a:r>
              <a:rPr sz="1400" spc="-25" dirty="0">
                <a:latin typeface="Arial"/>
                <a:cs typeface="Arial"/>
              </a:rPr>
              <a:t> and </a:t>
            </a:r>
            <a:r>
              <a:rPr sz="1400" dirty="0">
                <a:latin typeface="Arial"/>
                <a:cs typeface="Arial"/>
              </a:rPr>
              <a:t>supporting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echnologies,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uch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as </a:t>
            </a:r>
            <a:r>
              <a:rPr sz="1400" dirty="0">
                <a:latin typeface="Arial"/>
                <a:cs typeface="Arial"/>
              </a:rPr>
              <a:t>data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llectio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ols,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solar </a:t>
            </a:r>
            <a:r>
              <a:rPr sz="1400" dirty="0">
                <a:latin typeface="Arial"/>
                <a:cs typeface="Arial"/>
              </a:rPr>
              <a:t>powered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ld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hai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equipment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18" name="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342585" y="0"/>
            <a:ext cx="849419" cy="813470"/>
          </a:xfrm>
          <a:prstGeom prst="rect">
            <a:avLst/>
          </a:prstGeom>
        </p:spPr>
      </p:pic>
      <p:pic>
        <p:nvPicPr>
          <p:cNvPr id="19" name="object 1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68409" y="0"/>
            <a:ext cx="1572920" cy="702437"/>
          </a:xfrm>
          <a:prstGeom prst="rect">
            <a:avLst/>
          </a:prstGeom>
        </p:spPr>
      </p:pic>
      <p:sp>
        <p:nvSpPr>
          <p:cNvPr id="20" name="object 20"/>
          <p:cNvSpPr txBox="1"/>
          <p:nvPr/>
        </p:nvSpPr>
        <p:spPr>
          <a:xfrm>
            <a:off x="8005229" y="3105378"/>
            <a:ext cx="434975" cy="87693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3683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29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32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019084" y="5280824"/>
            <a:ext cx="434975" cy="87693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3683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290"/>
              </a:spcBef>
            </a:pPr>
            <a:r>
              <a:rPr sz="3200" b="1" spc="-5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sz="32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745923" y="4243984"/>
            <a:ext cx="3244215" cy="1092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Arial"/>
                <a:cs typeface="Arial"/>
              </a:rPr>
              <a:t>Continue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xpand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argeted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CSO </a:t>
            </a:r>
            <a:r>
              <a:rPr sz="1400" dirty="0">
                <a:latin typeface="Arial"/>
                <a:cs typeface="Arial"/>
              </a:rPr>
              <a:t>funding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windows.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ustained,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predictable, multi-</a:t>
            </a:r>
            <a:r>
              <a:rPr sz="1400" dirty="0">
                <a:latin typeface="Arial"/>
                <a:cs typeface="Arial"/>
              </a:rPr>
              <a:t>year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unding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treams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empower </a:t>
            </a:r>
            <a:r>
              <a:rPr sz="1400" dirty="0">
                <a:latin typeface="Arial"/>
                <a:cs typeface="Arial"/>
              </a:rPr>
              <a:t>CSOs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lan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liver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ong-term, community-</a:t>
            </a:r>
            <a:r>
              <a:rPr sz="1400" dirty="0">
                <a:latin typeface="Arial"/>
                <a:cs typeface="Arial"/>
              </a:rPr>
              <a:t>rooted</a:t>
            </a:r>
            <a:r>
              <a:rPr sz="1400" spc="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interventions.</a:t>
            </a:r>
            <a:endParaRPr sz="14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745923" y="5524144"/>
            <a:ext cx="3295650" cy="8788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Arial"/>
                <a:cs typeface="Arial"/>
              </a:rPr>
              <a:t>Invest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ntinuou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raining,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technical </a:t>
            </a:r>
            <a:r>
              <a:rPr sz="1400" dirty="0">
                <a:latin typeface="Arial"/>
                <a:cs typeface="Arial"/>
              </a:rPr>
              <a:t>support,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sourc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vision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enable </a:t>
            </a:r>
            <a:r>
              <a:rPr sz="1400" dirty="0">
                <a:latin typeface="Arial"/>
                <a:cs typeface="Arial"/>
              </a:rPr>
              <a:t>CSOs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ffectively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arry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ut</a:t>
            </a:r>
            <a:r>
              <a:rPr sz="1400" spc="-10" dirty="0">
                <a:latin typeface="Arial"/>
                <a:cs typeface="Arial"/>
              </a:rPr>
              <a:t> outreach, </a:t>
            </a:r>
            <a:r>
              <a:rPr sz="1400" dirty="0">
                <a:latin typeface="Arial"/>
                <a:cs typeface="Arial"/>
              </a:rPr>
              <a:t>data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llection,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ocial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mobilization.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229657" y="3772"/>
            <a:ext cx="950784" cy="974737"/>
          </a:xfrm>
          <a:prstGeom prst="rect">
            <a:avLst/>
          </a:prstGeom>
        </p:spPr>
      </p:pic>
      <p:grpSp>
        <p:nvGrpSpPr>
          <p:cNvPr id="3" name="object 3"/>
          <p:cNvGrpSpPr/>
          <p:nvPr/>
        </p:nvGrpSpPr>
        <p:grpSpPr>
          <a:xfrm>
            <a:off x="11561" y="0"/>
            <a:ext cx="4050029" cy="3414395"/>
            <a:chOff x="11561" y="0"/>
            <a:chExt cx="4050029" cy="3414395"/>
          </a:xfrm>
        </p:grpSpPr>
        <p:sp>
          <p:nvSpPr>
            <p:cNvPr id="4" name="object 4"/>
            <p:cNvSpPr/>
            <p:nvPr/>
          </p:nvSpPr>
          <p:spPr>
            <a:xfrm>
              <a:off x="103994" y="950534"/>
              <a:ext cx="3957954" cy="2463800"/>
            </a:xfrm>
            <a:custGeom>
              <a:avLst/>
              <a:gdLst/>
              <a:ahLst/>
              <a:cxnLst/>
              <a:rect l="l" t="t" r="r" b="b"/>
              <a:pathLst>
                <a:path w="3957954" h="2463800">
                  <a:moveTo>
                    <a:pt x="3957447" y="0"/>
                  </a:moveTo>
                  <a:lnTo>
                    <a:pt x="0" y="0"/>
                  </a:lnTo>
                  <a:lnTo>
                    <a:pt x="0" y="2463406"/>
                  </a:lnTo>
                  <a:lnTo>
                    <a:pt x="3957447" y="2463406"/>
                  </a:lnTo>
                  <a:lnTo>
                    <a:pt x="3957447" y="0"/>
                  </a:lnTo>
                  <a:close/>
                </a:path>
              </a:pathLst>
            </a:custGeom>
            <a:solidFill>
              <a:srgbClr val="333333">
                <a:alpha val="6470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561" y="0"/>
              <a:ext cx="3944747" cy="3308807"/>
            </a:xfrm>
            <a:prstGeom prst="rect">
              <a:avLst/>
            </a:prstGeom>
          </p:spPr>
        </p:pic>
      </p:grp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8200" y="3628859"/>
            <a:ext cx="3871467" cy="2536278"/>
          </a:xfrm>
          <a:prstGeom prst="rect">
            <a:avLst/>
          </a:prstGeom>
        </p:spPr>
      </p:pic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7044004" y="2007184"/>
            <a:ext cx="2057400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dirty="0"/>
              <a:t>Thank</a:t>
            </a:r>
            <a:r>
              <a:rPr sz="3200" spc="-5" dirty="0"/>
              <a:t> </a:t>
            </a:r>
            <a:r>
              <a:rPr sz="3200" spc="-25" dirty="0"/>
              <a:t>you</a:t>
            </a:r>
            <a:endParaRPr sz="3200"/>
          </a:p>
        </p:txBody>
      </p:sp>
      <p:sp>
        <p:nvSpPr>
          <p:cNvPr id="8" name="object 8"/>
          <p:cNvSpPr txBox="1"/>
          <p:nvPr/>
        </p:nvSpPr>
        <p:spPr>
          <a:xfrm>
            <a:off x="4200550" y="2917273"/>
            <a:ext cx="7740650" cy="431165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2171700" marR="5080" indent="-2159635">
              <a:lnSpc>
                <a:spcPts val="1510"/>
              </a:lnSpc>
              <a:spcBef>
                <a:spcPts val="290"/>
              </a:spcBef>
            </a:pP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Let’s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strengthen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and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expand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community-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led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outreach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efforts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to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ensure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no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child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is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left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behind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in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spc="-25" dirty="0">
                <a:solidFill>
                  <a:srgbClr val="0070BF"/>
                </a:solidFill>
                <a:latin typeface="Arial"/>
                <a:cs typeface="Arial"/>
              </a:rPr>
              <a:t>the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fight</a:t>
            </a:r>
            <a:r>
              <a:rPr sz="1400" spc="-2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against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vaccine-</a:t>
            </a:r>
            <a:r>
              <a:rPr sz="1400" dirty="0">
                <a:solidFill>
                  <a:srgbClr val="0070BF"/>
                </a:solidFill>
                <a:latin typeface="Arial"/>
                <a:cs typeface="Arial"/>
              </a:rPr>
              <a:t>preventable</a:t>
            </a:r>
            <a:r>
              <a:rPr sz="1400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0070BF"/>
                </a:solidFill>
                <a:latin typeface="Arial"/>
                <a:cs typeface="Arial"/>
              </a:rPr>
              <a:t>diseases.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1298" y="3302000"/>
            <a:ext cx="12187555" cy="3556000"/>
          </a:xfrm>
          <a:custGeom>
            <a:avLst/>
            <a:gdLst/>
            <a:ahLst/>
            <a:cxnLst/>
            <a:rect l="l" t="t" r="r" b="b"/>
            <a:pathLst>
              <a:path w="12187555" h="3556000">
                <a:moveTo>
                  <a:pt x="0" y="3556000"/>
                </a:moveTo>
                <a:lnTo>
                  <a:pt x="12187326" y="3556000"/>
                </a:lnTo>
                <a:lnTo>
                  <a:pt x="12187326" y="0"/>
                </a:lnTo>
                <a:lnTo>
                  <a:pt x="0" y="0"/>
                </a:lnTo>
                <a:lnTo>
                  <a:pt x="0" y="3556000"/>
                </a:lnTo>
                <a:close/>
              </a:path>
            </a:pathLst>
          </a:custGeom>
          <a:solidFill>
            <a:srgbClr val="0070B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-1298" y="0"/>
            <a:ext cx="12193905" cy="3302000"/>
            <a:chOff x="-1298" y="0"/>
            <a:chExt cx="12193905" cy="3302000"/>
          </a:xfrm>
        </p:grpSpPr>
        <p:sp>
          <p:nvSpPr>
            <p:cNvPr id="4" name="object 4"/>
            <p:cNvSpPr/>
            <p:nvPr/>
          </p:nvSpPr>
          <p:spPr>
            <a:xfrm>
              <a:off x="-1298" y="0"/>
              <a:ext cx="12187555" cy="2378075"/>
            </a:xfrm>
            <a:custGeom>
              <a:avLst/>
              <a:gdLst/>
              <a:ahLst/>
              <a:cxnLst/>
              <a:rect l="l" t="t" r="r" b="b"/>
              <a:pathLst>
                <a:path w="12187555" h="2378075">
                  <a:moveTo>
                    <a:pt x="0" y="2377833"/>
                  </a:moveTo>
                  <a:lnTo>
                    <a:pt x="12187326" y="2377833"/>
                  </a:lnTo>
                  <a:lnTo>
                    <a:pt x="12187326" y="0"/>
                  </a:lnTo>
                  <a:lnTo>
                    <a:pt x="0" y="0"/>
                  </a:lnTo>
                  <a:lnTo>
                    <a:pt x="0" y="2377833"/>
                  </a:lnTo>
                  <a:close/>
                </a:path>
              </a:pathLst>
            </a:custGeom>
            <a:solidFill>
              <a:srgbClr val="0070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2377833"/>
              <a:ext cx="12192000" cy="924560"/>
            </a:xfrm>
            <a:custGeom>
              <a:avLst/>
              <a:gdLst/>
              <a:ahLst/>
              <a:cxnLst/>
              <a:rect l="l" t="t" r="r" b="b"/>
              <a:pathLst>
                <a:path w="12192000" h="924560">
                  <a:moveTo>
                    <a:pt x="12192000" y="0"/>
                  </a:moveTo>
                  <a:lnTo>
                    <a:pt x="0" y="0"/>
                  </a:lnTo>
                  <a:lnTo>
                    <a:pt x="0" y="924166"/>
                  </a:lnTo>
                  <a:lnTo>
                    <a:pt x="12192000" y="924166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225642" y="5600230"/>
            <a:ext cx="1477010" cy="10229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45"/>
              </a:spcBef>
            </a:pPr>
            <a:endParaRPr sz="800">
              <a:latin typeface="Times New Roman"/>
              <a:cs typeface="Times New Roman"/>
            </a:endParaRPr>
          </a:p>
          <a:p>
            <a:pPr marL="381635">
              <a:lnSpc>
                <a:spcPct val="100000"/>
              </a:lnSpc>
            </a:pPr>
            <a:r>
              <a:rPr sz="800" spc="-50" dirty="0">
                <a:solidFill>
                  <a:srgbClr val="7F7F7F"/>
                </a:solidFill>
                <a:latin typeface="Arial"/>
                <a:cs typeface="Arial"/>
              </a:rPr>
              <a:t>1</a:t>
            </a:r>
            <a:endParaRPr sz="8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812417" y="2268905"/>
            <a:ext cx="10560685" cy="1068070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L="1917700" marR="5080" indent="-1905635">
              <a:lnSpc>
                <a:spcPts val="3890"/>
              </a:lnSpc>
              <a:spcBef>
                <a:spcPts val="585"/>
              </a:spcBef>
            </a:pPr>
            <a:r>
              <a:rPr sz="3600" dirty="0">
                <a:solidFill>
                  <a:srgbClr val="0070BF"/>
                </a:solidFill>
              </a:rPr>
              <a:t>Consortium</a:t>
            </a:r>
            <a:r>
              <a:rPr sz="3600" spc="-55" dirty="0">
                <a:solidFill>
                  <a:srgbClr val="0070BF"/>
                </a:solidFill>
              </a:rPr>
              <a:t> </a:t>
            </a:r>
            <a:r>
              <a:rPr sz="3600" dirty="0">
                <a:solidFill>
                  <a:srgbClr val="0070BF"/>
                </a:solidFill>
              </a:rPr>
              <a:t>of</a:t>
            </a:r>
            <a:r>
              <a:rPr sz="3600" spc="-50" dirty="0">
                <a:solidFill>
                  <a:srgbClr val="0070BF"/>
                </a:solidFill>
              </a:rPr>
              <a:t> </a:t>
            </a:r>
            <a:r>
              <a:rPr sz="3600" dirty="0">
                <a:solidFill>
                  <a:srgbClr val="0070BF"/>
                </a:solidFill>
              </a:rPr>
              <a:t>Christian</a:t>
            </a:r>
            <a:r>
              <a:rPr sz="3600" spc="-50" dirty="0">
                <a:solidFill>
                  <a:srgbClr val="0070BF"/>
                </a:solidFill>
              </a:rPr>
              <a:t> </a:t>
            </a:r>
            <a:r>
              <a:rPr sz="3600" dirty="0">
                <a:solidFill>
                  <a:srgbClr val="0070BF"/>
                </a:solidFill>
              </a:rPr>
              <a:t>Relief</a:t>
            </a:r>
            <a:r>
              <a:rPr sz="3600" spc="-50" dirty="0">
                <a:solidFill>
                  <a:srgbClr val="0070BF"/>
                </a:solidFill>
              </a:rPr>
              <a:t> </a:t>
            </a:r>
            <a:r>
              <a:rPr sz="3600" dirty="0">
                <a:solidFill>
                  <a:srgbClr val="0070BF"/>
                </a:solidFill>
              </a:rPr>
              <a:t>and</a:t>
            </a:r>
            <a:r>
              <a:rPr sz="3600" spc="-55" dirty="0">
                <a:solidFill>
                  <a:srgbClr val="0070BF"/>
                </a:solidFill>
              </a:rPr>
              <a:t> </a:t>
            </a:r>
            <a:r>
              <a:rPr sz="3600" spc="-10" dirty="0">
                <a:solidFill>
                  <a:srgbClr val="0070BF"/>
                </a:solidFill>
              </a:rPr>
              <a:t>Development </a:t>
            </a:r>
            <a:r>
              <a:rPr sz="3600" dirty="0">
                <a:solidFill>
                  <a:srgbClr val="0070BF"/>
                </a:solidFill>
              </a:rPr>
              <a:t>Association</a:t>
            </a:r>
            <a:r>
              <a:rPr sz="3600" spc="-140" dirty="0">
                <a:solidFill>
                  <a:srgbClr val="0070BF"/>
                </a:solidFill>
              </a:rPr>
              <a:t> </a:t>
            </a:r>
            <a:r>
              <a:rPr sz="3600" dirty="0">
                <a:solidFill>
                  <a:srgbClr val="0070BF"/>
                </a:solidFill>
              </a:rPr>
              <a:t>(CCRDA),</a:t>
            </a:r>
            <a:r>
              <a:rPr sz="3600" spc="-135" dirty="0">
                <a:solidFill>
                  <a:srgbClr val="0070BF"/>
                </a:solidFill>
              </a:rPr>
              <a:t> </a:t>
            </a:r>
            <a:r>
              <a:rPr sz="3600" spc="-10" dirty="0">
                <a:solidFill>
                  <a:srgbClr val="0070BF"/>
                </a:solidFill>
              </a:rPr>
              <a:t>Ethiopia</a:t>
            </a:r>
            <a:endParaRPr sz="3600"/>
          </a:p>
        </p:txBody>
      </p:sp>
      <p:sp>
        <p:nvSpPr>
          <p:cNvPr id="8" name="object 8"/>
          <p:cNvSpPr txBox="1"/>
          <p:nvPr/>
        </p:nvSpPr>
        <p:spPr>
          <a:xfrm>
            <a:off x="304382" y="3655974"/>
            <a:ext cx="455485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P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:</a:t>
            </a:r>
            <a:r>
              <a:rPr sz="1600" b="1" spc="2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Legesse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KidanNe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&amp;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Asrat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 Asress</a:t>
            </a:r>
            <a:endParaRPr sz="1600">
              <a:latin typeface="Arial"/>
              <a:cs typeface="Arial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972" y="0"/>
            <a:ext cx="12180570" cy="1063625"/>
            <a:chOff x="5972" y="0"/>
            <a:chExt cx="12180570" cy="1063625"/>
          </a:xfrm>
        </p:grpSpPr>
        <p:pic>
          <p:nvPicPr>
            <p:cNvPr id="10" name="object 1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972" y="3390"/>
              <a:ext cx="1281557" cy="854709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926203" y="0"/>
              <a:ext cx="1259824" cy="1063447"/>
            </a:xfrm>
            <a:prstGeom prst="rect">
              <a:avLst/>
            </a:prstGeom>
          </p:spPr>
        </p:pic>
      </p:grpSp>
      <p:pic>
        <p:nvPicPr>
          <p:cNvPr id="12" name="object 1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421759" y="5679833"/>
            <a:ext cx="1476959" cy="863244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25642" y="5600230"/>
            <a:ext cx="1476959" cy="1022438"/>
          </a:xfrm>
          <a:prstGeom prst="rect">
            <a:avLst/>
          </a:prstGeom>
        </p:spPr>
      </p:pic>
      <p:pic>
        <p:nvPicPr>
          <p:cNvPr id="14" name="object 1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302377" y="5600230"/>
            <a:ext cx="2157717" cy="967232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94734" y="1425143"/>
            <a:ext cx="5459730" cy="5198110"/>
          </a:xfrm>
          <a:prstGeom prst="rect">
            <a:avLst/>
          </a:prstGeom>
          <a:ln w="19049">
            <a:solidFill>
              <a:srgbClr val="082A39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285"/>
              </a:spcBef>
            </a:pPr>
            <a:endParaRPr sz="1800">
              <a:latin typeface="Times New Roman"/>
              <a:cs typeface="Times New Roman"/>
            </a:endParaRPr>
          </a:p>
          <a:p>
            <a:pPr marL="91440">
              <a:lnSpc>
                <a:spcPct val="100000"/>
              </a:lnSpc>
              <a:spcBef>
                <a:spcPts val="5"/>
              </a:spcBef>
            </a:pPr>
            <a:r>
              <a:rPr sz="1800" b="1" spc="-10" dirty="0">
                <a:solidFill>
                  <a:srgbClr val="0070BF"/>
                </a:solidFill>
                <a:latin typeface="Arial"/>
                <a:cs typeface="Arial"/>
              </a:rPr>
              <a:t>Targets</a:t>
            </a:r>
            <a:endParaRPr sz="1800">
              <a:latin typeface="Arial"/>
              <a:cs typeface="Arial"/>
            </a:endParaRPr>
          </a:p>
          <a:p>
            <a:pPr marL="91440">
              <a:lnSpc>
                <a:spcPct val="100000"/>
              </a:lnSpc>
              <a:tabLst>
                <a:tab pos="433705" algn="l"/>
              </a:tabLst>
            </a:pPr>
            <a:r>
              <a:rPr sz="1800" spc="-50" dirty="0">
                <a:latin typeface="Calibri"/>
                <a:cs typeface="Calibri"/>
              </a:rPr>
              <a:t>–</a:t>
            </a:r>
            <a:r>
              <a:rPr sz="1800" dirty="0">
                <a:latin typeface="Calibri"/>
                <a:cs typeface="Calibri"/>
              </a:rPr>
              <a:t>	</a:t>
            </a:r>
            <a:r>
              <a:rPr sz="1800" b="1" dirty="0">
                <a:latin typeface="Arial"/>
                <a:cs typeface="Arial"/>
              </a:rPr>
              <a:t>ZDC</a:t>
            </a:r>
            <a:r>
              <a:rPr sz="1800" b="1" spc="-2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=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39,434;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UIC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=</a:t>
            </a:r>
            <a:r>
              <a:rPr sz="1800" b="1" spc="-10" dirty="0">
                <a:latin typeface="Arial"/>
                <a:cs typeface="Arial"/>
              </a:rPr>
              <a:t> 60,671</a:t>
            </a:r>
            <a:endParaRPr sz="1800">
              <a:latin typeface="Arial"/>
              <a:cs typeface="Arial"/>
            </a:endParaRPr>
          </a:p>
          <a:p>
            <a:pPr marL="91440">
              <a:lnSpc>
                <a:spcPct val="100000"/>
              </a:lnSpc>
              <a:tabLst>
                <a:tab pos="433705" algn="l"/>
              </a:tabLst>
            </a:pPr>
            <a:r>
              <a:rPr sz="1800" spc="-50" dirty="0">
                <a:latin typeface="Calibri"/>
                <a:cs typeface="Calibri"/>
              </a:rPr>
              <a:t>–</a:t>
            </a:r>
            <a:r>
              <a:rPr sz="1800" dirty="0">
                <a:latin typeface="Calibri"/>
                <a:cs typeface="Calibri"/>
              </a:rPr>
              <a:t>	</a:t>
            </a:r>
            <a:r>
              <a:rPr sz="1800" b="1" dirty="0">
                <a:latin typeface="Arial"/>
                <a:cs typeface="Arial"/>
              </a:rPr>
              <a:t>SI = </a:t>
            </a:r>
            <a:r>
              <a:rPr sz="1800" b="1" spc="-10" dirty="0">
                <a:latin typeface="Arial"/>
                <a:cs typeface="Arial"/>
              </a:rPr>
              <a:t>32,417</a:t>
            </a:r>
            <a:endParaRPr sz="1800">
              <a:latin typeface="Arial"/>
              <a:cs typeface="Arial"/>
            </a:endParaRPr>
          </a:p>
          <a:p>
            <a:pPr marL="91440">
              <a:lnSpc>
                <a:spcPct val="100000"/>
              </a:lnSpc>
              <a:tabLst>
                <a:tab pos="433705" algn="l"/>
              </a:tabLst>
            </a:pPr>
            <a:r>
              <a:rPr sz="1800" spc="-50" dirty="0">
                <a:latin typeface="Calibri"/>
                <a:cs typeface="Calibri"/>
              </a:rPr>
              <a:t>–</a:t>
            </a:r>
            <a:r>
              <a:rPr sz="1800" dirty="0">
                <a:latin typeface="Calibri"/>
                <a:cs typeface="Calibri"/>
              </a:rPr>
              <a:t>	</a:t>
            </a:r>
            <a:r>
              <a:rPr sz="1800" b="1" dirty="0">
                <a:latin typeface="Arial"/>
                <a:cs typeface="Arial"/>
              </a:rPr>
              <a:t>&lt;5</a:t>
            </a:r>
            <a:r>
              <a:rPr sz="1800" b="1" spc="-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Yrs = </a:t>
            </a:r>
            <a:r>
              <a:rPr sz="1800" b="1" spc="-10" dirty="0">
                <a:latin typeface="Arial"/>
                <a:cs typeface="Arial"/>
              </a:rPr>
              <a:t>148,623</a:t>
            </a:r>
            <a:endParaRPr sz="18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5806440" y="1446809"/>
            <a:ext cx="6184265" cy="5198110"/>
          </a:xfrm>
          <a:custGeom>
            <a:avLst/>
            <a:gdLst/>
            <a:ahLst/>
            <a:cxnLst/>
            <a:rect l="l" t="t" r="r" b="b"/>
            <a:pathLst>
              <a:path w="6184265" h="5198109">
                <a:moveTo>
                  <a:pt x="0" y="0"/>
                </a:moveTo>
                <a:lnTo>
                  <a:pt x="6183845" y="0"/>
                </a:lnTo>
                <a:lnTo>
                  <a:pt x="6183845" y="5198084"/>
                </a:lnTo>
                <a:lnTo>
                  <a:pt x="0" y="5198084"/>
                </a:lnTo>
                <a:lnTo>
                  <a:pt x="0" y="0"/>
                </a:lnTo>
                <a:close/>
              </a:path>
            </a:pathLst>
          </a:custGeom>
          <a:ln w="12699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6266251" y="1474990"/>
            <a:ext cx="465963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0070BF"/>
                </a:solidFill>
                <a:latin typeface="Arial"/>
                <a:cs typeface="Arial"/>
              </a:rPr>
              <a:t>Working</a:t>
            </a:r>
            <a:r>
              <a:rPr sz="1800" b="1" spc="-4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70BF"/>
                </a:solidFill>
                <a:latin typeface="Arial"/>
                <a:cs typeface="Arial"/>
              </a:rPr>
              <a:t>within</a:t>
            </a:r>
            <a:r>
              <a:rPr sz="1800" b="1" spc="-4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70BF"/>
                </a:solidFill>
                <a:latin typeface="Arial"/>
                <a:cs typeface="Arial"/>
              </a:rPr>
              <a:t>the</a:t>
            </a:r>
            <a:r>
              <a:rPr sz="1800" b="1" spc="-3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70BF"/>
                </a:solidFill>
                <a:latin typeface="Arial"/>
                <a:cs typeface="Arial"/>
              </a:rPr>
              <a:t>Existing</a:t>
            </a:r>
            <a:r>
              <a:rPr sz="1800" b="1" spc="-4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70BF"/>
                </a:solidFill>
                <a:latin typeface="Arial"/>
                <a:cs typeface="Arial"/>
              </a:rPr>
              <a:t>Health</a:t>
            </a:r>
            <a:r>
              <a:rPr sz="1800" b="1" spc="-3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0070BF"/>
                </a:solidFill>
                <a:latin typeface="Arial"/>
                <a:cs typeface="Arial"/>
              </a:rPr>
              <a:t>System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342379" y="1749310"/>
            <a:ext cx="5494655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7815" marR="32384" indent="-285750">
              <a:lnSpc>
                <a:spcPct val="100000"/>
              </a:lnSpc>
              <a:spcBef>
                <a:spcPts val="100"/>
              </a:spcBef>
              <a:buClr>
                <a:srgbClr val="0070BF"/>
              </a:buClr>
              <a:buChar char="•"/>
              <a:tabLst>
                <a:tab pos="297815" algn="l"/>
              </a:tabLst>
            </a:pPr>
            <a:r>
              <a:rPr sz="1800" dirty="0">
                <a:latin typeface="Arial"/>
                <a:cs typeface="Arial"/>
              </a:rPr>
              <a:t>Partnering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with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MoH,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RHB,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and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WoHO,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PHCU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spc="-25" dirty="0">
                <a:latin typeface="Arial"/>
                <a:cs typeface="Arial"/>
              </a:rPr>
              <a:t>and </a:t>
            </a:r>
            <a:r>
              <a:rPr sz="1800" dirty="0">
                <a:latin typeface="Arial"/>
                <a:cs typeface="Arial"/>
              </a:rPr>
              <a:t>local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CSOs.</a:t>
            </a:r>
            <a:endParaRPr sz="1800">
              <a:latin typeface="Arial"/>
              <a:cs typeface="Arial"/>
            </a:endParaRPr>
          </a:p>
          <a:p>
            <a:pPr marL="297815" marR="5080" indent="-285750">
              <a:lnSpc>
                <a:spcPct val="100000"/>
              </a:lnSpc>
              <a:buClr>
                <a:srgbClr val="0070BF"/>
              </a:buClr>
              <a:buChar char="•"/>
              <a:tabLst>
                <a:tab pos="297815" algn="l"/>
              </a:tabLst>
            </a:pPr>
            <a:r>
              <a:rPr sz="1800" dirty="0">
                <a:latin typeface="Arial"/>
                <a:cs typeface="Arial"/>
              </a:rPr>
              <a:t>Engaging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in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national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planning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forums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Using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RED/C </a:t>
            </a:r>
            <a:r>
              <a:rPr sz="1800" dirty="0">
                <a:latin typeface="Arial"/>
                <a:cs typeface="Arial"/>
              </a:rPr>
              <a:t>micro-plans</a:t>
            </a:r>
            <a:r>
              <a:rPr sz="1800" spc="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to</a:t>
            </a:r>
            <a:r>
              <a:rPr sz="1800" spc="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ensure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bottom-</a:t>
            </a:r>
            <a:r>
              <a:rPr sz="1800" spc="-25" dirty="0">
                <a:latin typeface="Arial"/>
                <a:cs typeface="Arial"/>
              </a:rPr>
              <a:t>up.</a:t>
            </a:r>
            <a:endParaRPr sz="18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342379" y="3120910"/>
            <a:ext cx="27171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0070BF"/>
                </a:solidFill>
                <a:latin typeface="Arial"/>
                <a:cs typeface="Arial"/>
              </a:rPr>
              <a:t>Community</a:t>
            </a:r>
            <a:r>
              <a:rPr sz="1800" b="1" spc="-5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0070BF"/>
                </a:solidFill>
                <a:latin typeface="Arial"/>
                <a:cs typeface="Arial"/>
              </a:rPr>
              <a:t>Engageme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342379" y="3395230"/>
            <a:ext cx="545211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7815" marR="5080" indent="-285750">
              <a:lnSpc>
                <a:spcPct val="100000"/>
              </a:lnSpc>
              <a:spcBef>
                <a:spcPts val="100"/>
              </a:spcBef>
              <a:buClr>
                <a:srgbClr val="0070BF"/>
              </a:buClr>
              <a:buChar char="•"/>
              <a:tabLst>
                <a:tab pos="297815" algn="l"/>
              </a:tabLst>
            </a:pPr>
            <a:r>
              <a:rPr sz="1800" dirty="0">
                <a:latin typeface="Arial"/>
                <a:cs typeface="Arial"/>
              </a:rPr>
              <a:t>Active</a:t>
            </a:r>
            <a:r>
              <a:rPr sz="1800" spc="-3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participation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of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religious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leaders,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volunteers, </a:t>
            </a:r>
            <a:r>
              <a:rPr sz="1800" dirty="0">
                <a:latin typeface="Arial"/>
                <a:cs typeface="Arial"/>
              </a:rPr>
              <a:t>teachers,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and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kebele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leaders.</a:t>
            </a:r>
            <a:endParaRPr sz="1800">
              <a:latin typeface="Arial"/>
              <a:cs typeface="Arial"/>
            </a:endParaRPr>
          </a:p>
          <a:p>
            <a:pPr marL="297815" indent="-285115">
              <a:lnSpc>
                <a:spcPct val="100000"/>
              </a:lnSpc>
              <a:buClr>
                <a:srgbClr val="0070BF"/>
              </a:buClr>
              <a:buChar char="•"/>
              <a:tabLst>
                <a:tab pos="297815" algn="l"/>
              </a:tabLst>
            </a:pPr>
            <a:r>
              <a:rPr sz="1800" spc="-10" dirty="0">
                <a:latin typeface="Arial"/>
                <a:cs typeface="Arial"/>
              </a:rPr>
              <a:t>Household-</a:t>
            </a:r>
            <a:r>
              <a:rPr sz="1800" dirty="0">
                <a:latin typeface="Arial"/>
                <a:cs typeface="Arial"/>
              </a:rPr>
              <a:t>level</a:t>
            </a:r>
            <a:r>
              <a:rPr sz="1800" spc="3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engagement.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342379" y="4492510"/>
            <a:ext cx="3832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10" dirty="0">
                <a:solidFill>
                  <a:srgbClr val="0070BF"/>
                </a:solidFill>
                <a:latin typeface="Arial"/>
                <a:cs typeface="Arial"/>
              </a:rPr>
              <a:t>Data-</a:t>
            </a:r>
            <a:r>
              <a:rPr sz="1800" b="1" dirty="0">
                <a:solidFill>
                  <a:srgbClr val="0070BF"/>
                </a:solidFill>
                <a:latin typeface="Arial"/>
                <a:cs typeface="Arial"/>
              </a:rPr>
              <a:t>Driven</a:t>
            </a:r>
            <a:r>
              <a:rPr sz="1800" b="1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70BF"/>
                </a:solidFill>
                <a:latin typeface="Arial"/>
                <a:cs typeface="Arial"/>
              </a:rPr>
              <a:t>&amp;</a:t>
            </a:r>
            <a:r>
              <a:rPr sz="1800" b="1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70BF"/>
                </a:solidFill>
                <a:latin typeface="Arial"/>
                <a:cs typeface="Arial"/>
              </a:rPr>
              <a:t>Integrated</a:t>
            </a:r>
            <a:r>
              <a:rPr sz="1800" b="1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0070BF"/>
                </a:solidFill>
                <a:latin typeface="Arial"/>
                <a:cs typeface="Arial"/>
              </a:rPr>
              <a:t>Approach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342379" y="4766830"/>
            <a:ext cx="5250815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7815" marR="145415" indent="-285750">
              <a:lnSpc>
                <a:spcPct val="100000"/>
              </a:lnSpc>
              <a:spcBef>
                <a:spcPts val="100"/>
              </a:spcBef>
              <a:buClr>
                <a:srgbClr val="0070BF"/>
              </a:buClr>
              <a:buChar char="•"/>
              <a:tabLst>
                <a:tab pos="297815" algn="l"/>
              </a:tabLst>
            </a:pPr>
            <a:r>
              <a:rPr sz="1800" spc="-10" dirty="0">
                <a:latin typeface="Arial"/>
                <a:cs typeface="Arial"/>
              </a:rPr>
              <a:t>Real-</a:t>
            </a:r>
            <a:r>
              <a:rPr sz="1800" dirty="0">
                <a:latin typeface="Arial"/>
                <a:cs typeface="Arial"/>
              </a:rPr>
              <a:t>time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ata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monitoring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(ODK,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Google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sheet, DHIS2).</a:t>
            </a:r>
            <a:endParaRPr sz="1800">
              <a:latin typeface="Arial"/>
              <a:cs typeface="Arial"/>
            </a:endParaRPr>
          </a:p>
          <a:p>
            <a:pPr marL="297815" marR="5080" indent="-285750">
              <a:lnSpc>
                <a:spcPct val="100000"/>
              </a:lnSpc>
              <a:buClr>
                <a:srgbClr val="0070BF"/>
              </a:buClr>
              <a:buChar char="•"/>
              <a:tabLst>
                <a:tab pos="297815" algn="l"/>
              </a:tabLst>
            </a:pPr>
            <a:r>
              <a:rPr sz="1800" dirty="0">
                <a:latin typeface="Arial"/>
                <a:cs typeface="Arial"/>
              </a:rPr>
              <a:t>Joint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supervision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&amp;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reviews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meetings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with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Health </a:t>
            </a:r>
            <a:r>
              <a:rPr sz="1800" dirty="0">
                <a:latin typeface="Arial"/>
                <a:cs typeface="Arial"/>
              </a:rPr>
              <a:t>offices,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and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integrated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service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delivery</a:t>
            </a:r>
            <a:endParaRPr sz="1800">
              <a:latin typeface="Arial"/>
              <a:cs typeface="Arial"/>
            </a:endParaRPr>
          </a:p>
        </p:txBody>
      </p:sp>
      <p:pic>
        <p:nvPicPr>
          <p:cNvPr id="10" name="object 1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94734" y="1470304"/>
            <a:ext cx="5459209" cy="3710622"/>
          </a:xfrm>
          <a:prstGeom prst="rect">
            <a:avLst/>
          </a:prstGeom>
        </p:spPr>
      </p:pic>
      <p:pic>
        <p:nvPicPr>
          <p:cNvPr id="11" name="object 1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8500" y="64865"/>
            <a:ext cx="1259824" cy="1063447"/>
          </a:xfrm>
          <a:prstGeom prst="rect">
            <a:avLst/>
          </a:prstGeom>
        </p:spPr>
      </p:pic>
      <p:pic>
        <p:nvPicPr>
          <p:cNvPr id="12" name="object 1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885832" y="54972"/>
            <a:ext cx="2237663" cy="773087"/>
          </a:xfrm>
          <a:prstGeom prst="rect">
            <a:avLst/>
          </a:prstGeom>
        </p:spPr>
      </p:pic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1821968" y="188065"/>
            <a:ext cx="7699375" cy="635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905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rgbClr val="0070BF"/>
                </a:solidFill>
              </a:rPr>
              <a:t>Reducing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Zero</a:t>
            </a:r>
            <a:r>
              <a:rPr spc="-6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dose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and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Under</a:t>
            </a:r>
            <a:r>
              <a:rPr spc="-5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Immunized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Children</a:t>
            </a:r>
            <a:r>
              <a:rPr spc="-65" dirty="0">
                <a:solidFill>
                  <a:srgbClr val="0070BF"/>
                </a:solidFill>
              </a:rPr>
              <a:t> </a:t>
            </a:r>
            <a:r>
              <a:rPr spc="-10" dirty="0">
                <a:solidFill>
                  <a:srgbClr val="0070BF"/>
                </a:solidFill>
              </a:rPr>
              <a:t>through </a:t>
            </a:r>
            <a:r>
              <a:rPr dirty="0">
                <a:solidFill>
                  <a:srgbClr val="0070BF"/>
                </a:solidFill>
              </a:rPr>
              <a:t>Local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CSOs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in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Hard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to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reach</a:t>
            </a:r>
            <a:r>
              <a:rPr spc="-3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and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pastoralist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regions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of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spc="-10" dirty="0">
                <a:solidFill>
                  <a:srgbClr val="0070BF"/>
                </a:solidFill>
              </a:rPr>
              <a:t>Ethiopia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5806440" y="890884"/>
            <a:ext cx="6184265" cy="458470"/>
          </a:xfrm>
          <a:prstGeom prst="rect">
            <a:avLst/>
          </a:prstGeom>
          <a:solidFill>
            <a:srgbClr val="0070BF"/>
          </a:solidFill>
        </p:spPr>
        <p:txBody>
          <a:bodyPr vert="horz" wrap="square" lIns="0" tIns="8699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685"/>
              </a:spcBef>
            </a:pP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Project</a:t>
            </a:r>
            <a:r>
              <a:rPr sz="1800" b="1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FFFFFF"/>
                </a:solidFill>
                <a:latin typeface="Arial"/>
                <a:cs typeface="Arial"/>
              </a:rPr>
              <a:t>Strategies</a:t>
            </a:r>
            <a:endParaRPr sz="18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65628" y="890884"/>
            <a:ext cx="5488940" cy="458470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711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560"/>
              </a:spcBef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Project</a:t>
            </a:r>
            <a:r>
              <a:rPr sz="2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spc="-20" dirty="0">
                <a:solidFill>
                  <a:srgbClr val="FFFFFF"/>
                </a:solidFill>
                <a:latin typeface="Arial"/>
                <a:cs typeface="Arial"/>
              </a:rPr>
              <a:t>focus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12" y="1998840"/>
            <a:ext cx="11454765" cy="782320"/>
          </a:xfrm>
          <a:custGeom>
            <a:avLst/>
            <a:gdLst/>
            <a:ahLst/>
            <a:cxnLst/>
            <a:rect l="l" t="t" r="r" b="b"/>
            <a:pathLst>
              <a:path w="11454765" h="782319">
                <a:moveTo>
                  <a:pt x="0" y="781697"/>
                </a:moveTo>
                <a:lnTo>
                  <a:pt x="11454599" y="781697"/>
                </a:lnTo>
                <a:lnTo>
                  <a:pt x="11454599" y="0"/>
                </a:lnTo>
                <a:lnTo>
                  <a:pt x="0" y="0"/>
                </a:lnTo>
                <a:lnTo>
                  <a:pt x="0" y="781697"/>
                </a:lnTo>
                <a:close/>
              </a:path>
            </a:pathLst>
          </a:custGeom>
          <a:solidFill>
            <a:srgbClr val="0E9ED4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0" y="2203081"/>
            <a:ext cx="11389995" cy="4401820"/>
            <a:chOff x="0" y="2203081"/>
            <a:chExt cx="11389995" cy="4401820"/>
          </a:xfrm>
        </p:grpSpPr>
        <p:sp>
          <p:nvSpPr>
            <p:cNvPr id="4" name="object 4"/>
            <p:cNvSpPr/>
            <p:nvPr/>
          </p:nvSpPr>
          <p:spPr>
            <a:xfrm>
              <a:off x="0" y="6471069"/>
              <a:ext cx="11389995" cy="133350"/>
            </a:xfrm>
            <a:custGeom>
              <a:avLst/>
              <a:gdLst/>
              <a:ahLst/>
              <a:cxnLst/>
              <a:rect l="l" t="t" r="r" b="b"/>
              <a:pathLst>
                <a:path w="11389995" h="133350">
                  <a:moveTo>
                    <a:pt x="0" y="133350"/>
                  </a:moveTo>
                  <a:lnTo>
                    <a:pt x="11389715" y="133350"/>
                  </a:lnTo>
                  <a:lnTo>
                    <a:pt x="11389715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solidFill>
              <a:srgbClr val="000000">
                <a:alpha val="14901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2203081"/>
              <a:ext cx="11383645" cy="4268470"/>
            </a:xfrm>
            <a:custGeom>
              <a:avLst/>
              <a:gdLst/>
              <a:ahLst/>
              <a:cxnLst/>
              <a:rect l="l" t="t" r="r" b="b"/>
              <a:pathLst>
                <a:path w="11383645" h="4268470">
                  <a:moveTo>
                    <a:pt x="11383365" y="0"/>
                  </a:moveTo>
                  <a:lnTo>
                    <a:pt x="0" y="0"/>
                  </a:lnTo>
                  <a:lnTo>
                    <a:pt x="0" y="4267987"/>
                  </a:lnTo>
                  <a:lnTo>
                    <a:pt x="11383365" y="4267987"/>
                  </a:lnTo>
                  <a:lnTo>
                    <a:pt x="1138336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33530" y="2299106"/>
              <a:ext cx="5159375" cy="4268470"/>
            </a:xfrm>
            <a:custGeom>
              <a:avLst/>
              <a:gdLst/>
              <a:ahLst/>
              <a:cxnLst/>
              <a:rect l="l" t="t" r="r" b="b"/>
              <a:pathLst>
                <a:path w="5159375" h="4268470">
                  <a:moveTo>
                    <a:pt x="5159197" y="0"/>
                  </a:moveTo>
                  <a:lnTo>
                    <a:pt x="0" y="0"/>
                  </a:lnTo>
                  <a:lnTo>
                    <a:pt x="0" y="4267987"/>
                  </a:lnTo>
                  <a:lnTo>
                    <a:pt x="5159197" y="4267987"/>
                  </a:lnTo>
                  <a:lnTo>
                    <a:pt x="5159197" y="0"/>
                  </a:lnTo>
                  <a:close/>
                </a:path>
              </a:pathLst>
            </a:cu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212270" y="2267293"/>
            <a:ext cx="211899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0070BF"/>
                </a:solidFill>
                <a:latin typeface="Arial"/>
                <a:cs typeface="Arial"/>
              </a:rPr>
              <a:t>Community</a:t>
            </a:r>
            <a:r>
              <a:rPr sz="1400" b="1" spc="-5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70BF"/>
                </a:solidFill>
                <a:latin typeface="Arial"/>
                <a:cs typeface="Arial"/>
              </a:rPr>
              <a:t>Engagement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12270" y="2564981"/>
            <a:ext cx="485711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0665" indent="-227965">
              <a:lnSpc>
                <a:spcPct val="100000"/>
              </a:lnSpc>
              <a:spcBef>
                <a:spcPts val="100"/>
              </a:spcBef>
              <a:buFont typeface="Arial"/>
              <a:buChar char="•"/>
              <a:tabLst>
                <a:tab pos="240665" algn="l"/>
              </a:tabLst>
            </a:pPr>
            <a:r>
              <a:rPr sz="1400" b="1" dirty="0">
                <a:latin typeface="Arial"/>
                <a:cs typeface="Arial"/>
              </a:rPr>
              <a:t>342</a:t>
            </a:r>
            <a:r>
              <a:rPr sz="1400" b="1" spc="-3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people</a:t>
            </a:r>
            <a:r>
              <a:rPr sz="1400" b="1" spc="-2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trained</a:t>
            </a:r>
            <a:r>
              <a:rPr sz="1400" dirty="0">
                <a:latin typeface="Arial"/>
                <a:cs typeface="Arial"/>
              </a:rPr>
              <a:t>: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270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munity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volunteers,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45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kebele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12270" y="2651341"/>
            <a:ext cx="4611370" cy="791845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241300">
              <a:lnSpc>
                <a:spcPct val="100000"/>
              </a:lnSpc>
              <a:spcBef>
                <a:spcPts val="760"/>
              </a:spcBef>
            </a:pPr>
            <a:r>
              <a:rPr sz="1400" dirty="0">
                <a:latin typeface="Arial"/>
                <a:cs typeface="Arial"/>
              </a:rPr>
              <a:t>leaders,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27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ligious/school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eaders.</a:t>
            </a:r>
            <a:endParaRPr sz="1400">
              <a:latin typeface="Arial"/>
              <a:cs typeface="Arial"/>
            </a:endParaRPr>
          </a:p>
          <a:p>
            <a:pPr marL="241300" marR="5080" indent="-228600">
              <a:lnSpc>
                <a:spcPts val="1340"/>
              </a:lnSpc>
              <a:spcBef>
                <a:spcPts val="994"/>
              </a:spcBef>
              <a:buFont typeface="Arial"/>
              <a:buChar char="•"/>
              <a:tabLst>
                <a:tab pos="241300" algn="l"/>
              </a:tabLst>
            </a:pPr>
            <a:r>
              <a:rPr sz="1400" b="1" dirty="0">
                <a:latin typeface="Arial"/>
                <a:cs typeface="Arial"/>
              </a:rPr>
              <a:t>Kebele</a:t>
            </a:r>
            <a:r>
              <a:rPr sz="1400" b="1" spc="-2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Prioritization:</a:t>
            </a:r>
            <a:r>
              <a:rPr sz="1400" b="1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90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igh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ZD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kebele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dentified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by </a:t>
            </a:r>
            <a:r>
              <a:rPr sz="1400" dirty="0">
                <a:latin typeface="Arial"/>
                <a:cs typeface="Arial"/>
              </a:rPr>
              <a:t>woreda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ealth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ffices,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Fs,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Communitie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12263" y="3417404"/>
            <a:ext cx="4911725" cy="2919095"/>
          </a:xfrm>
          <a:prstGeom prst="rect">
            <a:avLst/>
          </a:prstGeom>
        </p:spPr>
        <p:txBody>
          <a:bodyPr vert="horz" wrap="square" lIns="0" tIns="971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65"/>
              </a:spcBef>
            </a:pPr>
            <a:r>
              <a:rPr sz="1400" b="1" dirty="0">
                <a:solidFill>
                  <a:srgbClr val="0070BF"/>
                </a:solidFill>
                <a:latin typeface="Arial"/>
                <a:cs typeface="Arial"/>
              </a:rPr>
              <a:t>Headcount</a:t>
            </a:r>
            <a:r>
              <a:rPr sz="1400" b="1" spc="-2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70BF"/>
                </a:solidFill>
                <a:latin typeface="Arial"/>
                <a:cs typeface="Arial"/>
              </a:rPr>
              <a:t>&amp;</a:t>
            </a:r>
            <a:r>
              <a:rPr sz="1400" b="1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70BF"/>
                </a:solidFill>
                <a:latin typeface="Arial"/>
                <a:cs typeface="Arial"/>
              </a:rPr>
              <a:t>Vaccination</a:t>
            </a:r>
            <a:endParaRPr sz="1400">
              <a:latin typeface="Arial"/>
              <a:cs typeface="Arial"/>
            </a:endParaRPr>
          </a:p>
          <a:p>
            <a:pPr marL="240665" indent="-227965">
              <a:lnSpc>
                <a:spcPct val="100000"/>
              </a:lnSpc>
              <a:spcBef>
                <a:spcPts val="660"/>
              </a:spcBef>
              <a:buChar char="•"/>
              <a:tabLst>
                <a:tab pos="240665" algn="l"/>
              </a:tabLst>
            </a:pPr>
            <a:r>
              <a:rPr sz="1400" dirty="0">
                <a:latin typeface="Arial"/>
                <a:cs typeface="Arial"/>
              </a:rPr>
              <a:t>45,986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households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visited</a:t>
            </a:r>
            <a:r>
              <a:rPr sz="1400" dirty="0">
                <a:latin typeface="Arial"/>
                <a:cs typeface="Arial"/>
              </a:rPr>
              <a:t>,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30,978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&lt;5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hildren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registered.</a:t>
            </a:r>
            <a:endParaRPr sz="1400">
              <a:latin typeface="Arial"/>
              <a:cs typeface="Arial"/>
            </a:endParaRPr>
          </a:p>
          <a:p>
            <a:pPr marL="240665" indent="-227965">
              <a:lnSpc>
                <a:spcPct val="100000"/>
              </a:lnSpc>
              <a:spcBef>
                <a:spcPts val="665"/>
              </a:spcBef>
              <a:buChar char="•"/>
              <a:tabLst>
                <a:tab pos="240665" algn="l"/>
              </a:tabLst>
            </a:pPr>
            <a:r>
              <a:rPr sz="1400" dirty="0">
                <a:latin typeface="Arial"/>
                <a:cs typeface="Arial"/>
              </a:rPr>
              <a:t>11,311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zero-</a:t>
            </a:r>
            <a:r>
              <a:rPr sz="1400" dirty="0">
                <a:latin typeface="Arial"/>
                <a:cs typeface="Arial"/>
              </a:rPr>
              <a:t>dose and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12,488 </a:t>
            </a:r>
            <a:r>
              <a:rPr sz="1400" spc="-10" dirty="0">
                <a:latin typeface="Arial"/>
                <a:cs typeface="Arial"/>
              </a:rPr>
              <a:t>under-vaccinated.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65"/>
              </a:spcBef>
            </a:pPr>
            <a:r>
              <a:rPr sz="1400" b="1" dirty="0">
                <a:solidFill>
                  <a:srgbClr val="0070BF"/>
                </a:solidFill>
                <a:latin typeface="Arial"/>
                <a:cs typeface="Arial"/>
              </a:rPr>
              <a:t>Cold</a:t>
            </a:r>
            <a:r>
              <a:rPr sz="1400" b="1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70BF"/>
                </a:solidFill>
                <a:latin typeface="Arial"/>
                <a:cs typeface="Arial"/>
              </a:rPr>
              <a:t>Chain</a:t>
            </a:r>
            <a:r>
              <a:rPr sz="1400" b="1" spc="-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70BF"/>
                </a:solidFill>
                <a:latin typeface="Arial"/>
                <a:cs typeface="Arial"/>
              </a:rPr>
              <a:t>and</a:t>
            </a:r>
            <a:r>
              <a:rPr sz="1400" b="1" spc="-1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70BF"/>
                </a:solidFill>
                <a:latin typeface="Arial"/>
                <a:cs typeface="Arial"/>
              </a:rPr>
              <a:t>Logistic</a:t>
            </a:r>
            <a:r>
              <a:rPr sz="1400" b="1" spc="-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70BF"/>
                </a:solidFill>
                <a:latin typeface="Arial"/>
                <a:cs typeface="Arial"/>
              </a:rPr>
              <a:t>Support</a:t>
            </a:r>
            <a:endParaRPr sz="1400">
              <a:latin typeface="Arial"/>
              <a:cs typeface="Arial"/>
            </a:endParaRPr>
          </a:p>
          <a:p>
            <a:pPr marL="241300" marR="483870" indent="-228600">
              <a:lnSpc>
                <a:spcPts val="1340"/>
              </a:lnSpc>
              <a:spcBef>
                <a:spcPts val="990"/>
              </a:spcBef>
              <a:buFont typeface="Arial"/>
              <a:buChar char="•"/>
              <a:tabLst>
                <a:tab pos="241300" algn="l"/>
              </a:tabLst>
            </a:pPr>
            <a:r>
              <a:rPr sz="1400" b="1" dirty="0">
                <a:latin typeface="Arial"/>
                <a:cs typeface="Arial"/>
              </a:rPr>
              <a:t>129</a:t>
            </a:r>
            <a:r>
              <a:rPr sz="1400" b="1" spc="-2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refrigerators</a:t>
            </a:r>
            <a:r>
              <a:rPr sz="1400" b="1" spc="-2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assessed</a:t>
            </a:r>
            <a:r>
              <a:rPr sz="1400" dirty="0">
                <a:latin typeface="Arial"/>
                <a:cs typeface="Arial"/>
              </a:rPr>
              <a:t>;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56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paired;</a:t>
            </a:r>
            <a:r>
              <a:rPr sz="1400" spc="3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6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facilities </a:t>
            </a:r>
            <a:r>
              <a:rPr sz="1400" dirty="0">
                <a:latin typeface="Arial"/>
                <a:cs typeface="Arial"/>
              </a:rPr>
              <a:t>resumed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tatic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vaccination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sessions.</a:t>
            </a:r>
            <a:endParaRPr sz="1400">
              <a:latin typeface="Arial"/>
              <a:cs typeface="Arial"/>
            </a:endParaRPr>
          </a:p>
          <a:p>
            <a:pPr marL="241300" marR="514350" indent="-228600">
              <a:lnSpc>
                <a:spcPts val="1340"/>
              </a:lnSpc>
              <a:spcBef>
                <a:spcPts val="1010"/>
              </a:spcBef>
              <a:buChar char="•"/>
              <a:tabLst>
                <a:tab pos="241300" algn="l"/>
              </a:tabLst>
            </a:pPr>
            <a:r>
              <a:rPr sz="1400" dirty="0">
                <a:latin typeface="Arial"/>
                <a:cs typeface="Arial"/>
              </a:rPr>
              <a:t>25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vehicle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5,112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porting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ormats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vided;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34 </a:t>
            </a:r>
            <a:r>
              <a:rPr sz="1400" dirty="0">
                <a:latin typeface="Arial"/>
                <a:cs typeface="Arial"/>
              </a:rPr>
              <a:t>technical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taff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deployed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80"/>
              </a:spcBef>
            </a:pPr>
            <a:r>
              <a:rPr sz="1400" b="1" dirty="0">
                <a:solidFill>
                  <a:srgbClr val="0070BF"/>
                </a:solidFill>
                <a:latin typeface="Arial"/>
                <a:cs typeface="Arial"/>
              </a:rPr>
              <a:t>PIRI</a:t>
            </a:r>
            <a:r>
              <a:rPr sz="1400" b="1" spc="-15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70BF"/>
                </a:solidFill>
                <a:latin typeface="Arial"/>
                <a:cs typeface="Arial"/>
              </a:rPr>
              <a:t>Services</a:t>
            </a:r>
            <a:endParaRPr sz="1400">
              <a:latin typeface="Arial"/>
              <a:cs typeface="Arial"/>
            </a:endParaRPr>
          </a:p>
          <a:p>
            <a:pPr marL="241300" marR="166370" indent="-228600">
              <a:lnSpc>
                <a:spcPct val="80000"/>
              </a:lnSpc>
              <a:spcBef>
                <a:spcPts val="1000"/>
              </a:spcBef>
              <a:buFont typeface="Arial"/>
              <a:buChar char="•"/>
              <a:tabLst>
                <a:tab pos="241300" algn="l"/>
              </a:tabLst>
            </a:pPr>
            <a:r>
              <a:rPr sz="1400" b="1" dirty="0">
                <a:latin typeface="Arial"/>
                <a:cs typeface="Arial"/>
              </a:rPr>
              <a:t>24</a:t>
            </a:r>
            <a:r>
              <a:rPr sz="1400" b="1" spc="-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PIRI</a:t>
            </a:r>
            <a:r>
              <a:rPr sz="1400" b="1" spc="-1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sessions</a:t>
            </a:r>
            <a:r>
              <a:rPr sz="1400" b="1" spc="-1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conducted;</a:t>
            </a:r>
            <a:r>
              <a:rPr sz="1400" b="1" spc="3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933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Z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2,210</a:t>
            </a:r>
            <a:r>
              <a:rPr sz="1400" spc="-10" dirty="0">
                <a:latin typeface="Arial"/>
                <a:cs typeface="Arial"/>
              </a:rPr>
              <a:t> under- </a:t>
            </a:r>
            <a:r>
              <a:rPr sz="1400" dirty="0">
                <a:latin typeface="Arial"/>
                <a:cs typeface="Arial"/>
              </a:rPr>
              <a:t>immunized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hildren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reached.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5418759" y="2559050"/>
            <a:ext cx="5737860" cy="3639820"/>
            <a:chOff x="5418759" y="2559050"/>
            <a:chExt cx="5737860" cy="3639820"/>
          </a:xfrm>
        </p:grpSpPr>
        <p:pic>
          <p:nvPicPr>
            <p:cNvPr id="12" name="object 1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418759" y="2559050"/>
              <a:ext cx="2741803" cy="3639413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412619" y="2559050"/>
              <a:ext cx="2743619" cy="3639413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11542700" y="1998370"/>
            <a:ext cx="152400" cy="782320"/>
          </a:xfrm>
          <a:custGeom>
            <a:avLst/>
            <a:gdLst/>
            <a:ahLst/>
            <a:cxnLst/>
            <a:rect l="l" t="t" r="r" b="b"/>
            <a:pathLst>
              <a:path w="152400" h="782319">
                <a:moveTo>
                  <a:pt x="152387" y="781700"/>
                </a:moveTo>
                <a:lnTo>
                  <a:pt x="152387" y="0"/>
                </a:lnTo>
                <a:lnTo>
                  <a:pt x="0" y="0"/>
                </a:lnTo>
                <a:lnTo>
                  <a:pt x="0" y="781700"/>
                </a:lnTo>
                <a:lnTo>
                  <a:pt x="152387" y="781700"/>
                </a:lnTo>
                <a:close/>
              </a:path>
            </a:pathLst>
          </a:custGeom>
          <a:solidFill>
            <a:srgbClr val="0E9ED4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5" name="object 1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8500" y="64865"/>
            <a:ext cx="1259824" cy="1063447"/>
          </a:xfrm>
          <a:prstGeom prst="rect">
            <a:avLst/>
          </a:prstGeom>
        </p:spPr>
      </p:pic>
      <p:pic>
        <p:nvPicPr>
          <p:cNvPr id="16" name="object 1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885832" y="54972"/>
            <a:ext cx="2237663" cy="773087"/>
          </a:xfrm>
          <a:prstGeom prst="rect">
            <a:avLst/>
          </a:prstGeom>
        </p:spPr>
      </p:pic>
      <p:sp>
        <p:nvSpPr>
          <p:cNvPr id="17" name="object 17"/>
          <p:cNvSpPr txBox="1">
            <a:spLocks noGrp="1"/>
          </p:cNvSpPr>
          <p:nvPr>
            <p:ph type="title"/>
          </p:nvPr>
        </p:nvSpPr>
        <p:spPr>
          <a:xfrm>
            <a:off x="1632727" y="636394"/>
            <a:ext cx="7699375" cy="635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905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rgbClr val="0070BF"/>
                </a:solidFill>
              </a:rPr>
              <a:t>Reducing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Zero</a:t>
            </a:r>
            <a:r>
              <a:rPr spc="-6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dose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and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Under</a:t>
            </a:r>
            <a:r>
              <a:rPr spc="-5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Immunized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Children</a:t>
            </a:r>
            <a:r>
              <a:rPr spc="-65" dirty="0">
                <a:solidFill>
                  <a:srgbClr val="0070BF"/>
                </a:solidFill>
              </a:rPr>
              <a:t> </a:t>
            </a:r>
            <a:r>
              <a:rPr spc="-10" dirty="0">
                <a:solidFill>
                  <a:srgbClr val="0070BF"/>
                </a:solidFill>
              </a:rPr>
              <a:t>through </a:t>
            </a:r>
            <a:r>
              <a:rPr dirty="0">
                <a:solidFill>
                  <a:srgbClr val="0070BF"/>
                </a:solidFill>
              </a:rPr>
              <a:t>Local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CSOs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in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Hard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to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reach</a:t>
            </a:r>
            <a:r>
              <a:rPr spc="-3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and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pastoralist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regions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of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spc="-10" dirty="0">
                <a:solidFill>
                  <a:srgbClr val="0070BF"/>
                </a:solidFill>
              </a:rPr>
              <a:t>Ethiopia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12" y="1998840"/>
            <a:ext cx="11454765" cy="782320"/>
          </a:xfrm>
          <a:custGeom>
            <a:avLst/>
            <a:gdLst/>
            <a:ahLst/>
            <a:cxnLst/>
            <a:rect l="l" t="t" r="r" b="b"/>
            <a:pathLst>
              <a:path w="11454765" h="782319">
                <a:moveTo>
                  <a:pt x="0" y="781697"/>
                </a:moveTo>
                <a:lnTo>
                  <a:pt x="11454599" y="781697"/>
                </a:lnTo>
                <a:lnTo>
                  <a:pt x="11454599" y="0"/>
                </a:lnTo>
                <a:lnTo>
                  <a:pt x="0" y="0"/>
                </a:lnTo>
                <a:lnTo>
                  <a:pt x="0" y="781697"/>
                </a:lnTo>
                <a:close/>
              </a:path>
            </a:pathLst>
          </a:custGeom>
          <a:solidFill>
            <a:srgbClr val="0E9ED4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0" y="2203081"/>
            <a:ext cx="11389995" cy="4401820"/>
            <a:chOff x="0" y="2203081"/>
            <a:chExt cx="11389995" cy="4401820"/>
          </a:xfrm>
        </p:grpSpPr>
        <p:sp>
          <p:nvSpPr>
            <p:cNvPr id="4" name="object 4"/>
            <p:cNvSpPr/>
            <p:nvPr/>
          </p:nvSpPr>
          <p:spPr>
            <a:xfrm>
              <a:off x="0" y="6471069"/>
              <a:ext cx="11389995" cy="133350"/>
            </a:xfrm>
            <a:custGeom>
              <a:avLst/>
              <a:gdLst/>
              <a:ahLst/>
              <a:cxnLst/>
              <a:rect l="l" t="t" r="r" b="b"/>
              <a:pathLst>
                <a:path w="11389995" h="133350">
                  <a:moveTo>
                    <a:pt x="0" y="133350"/>
                  </a:moveTo>
                  <a:lnTo>
                    <a:pt x="11389715" y="133350"/>
                  </a:lnTo>
                  <a:lnTo>
                    <a:pt x="11389715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solidFill>
              <a:srgbClr val="000000">
                <a:alpha val="14901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2203081"/>
              <a:ext cx="11383645" cy="4268470"/>
            </a:xfrm>
            <a:custGeom>
              <a:avLst/>
              <a:gdLst/>
              <a:ahLst/>
              <a:cxnLst/>
              <a:rect l="l" t="t" r="r" b="b"/>
              <a:pathLst>
                <a:path w="11383645" h="4268470">
                  <a:moveTo>
                    <a:pt x="11383365" y="0"/>
                  </a:moveTo>
                  <a:lnTo>
                    <a:pt x="0" y="0"/>
                  </a:lnTo>
                  <a:lnTo>
                    <a:pt x="0" y="4267987"/>
                  </a:lnTo>
                  <a:lnTo>
                    <a:pt x="11383365" y="4267987"/>
                  </a:lnTo>
                  <a:lnTo>
                    <a:pt x="1138336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47649" y="2599512"/>
              <a:ext cx="4707255" cy="3599179"/>
            </a:xfrm>
            <a:custGeom>
              <a:avLst/>
              <a:gdLst/>
              <a:ahLst/>
              <a:cxnLst/>
              <a:rect l="l" t="t" r="r" b="b"/>
              <a:pathLst>
                <a:path w="4707255" h="3599179">
                  <a:moveTo>
                    <a:pt x="4706734" y="0"/>
                  </a:moveTo>
                  <a:lnTo>
                    <a:pt x="0" y="0"/>
                  </a:lnTo>
                  <a:lnTo>
                    <a:pt x="0" y="3598989"/>
                  </a:lnTo>
                  <a:lnTo>
                    <a:pt x="4706734" y="3598989"/>
                  </a:lnTo>
                  <a:lnTo>
                    <a:pt x="4706734" y="0"/>
                  </a:lnTo>
                  <a:close/>
                </a:path>
              </a:pathLst>
            </a:cu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269240" y="2191187"/>
            <a:ext cx="4512310" cy="4106545"/>
          </a:xfrm>
          <a:prstGeom prst="rect">
            <a:avLst/>
          </a:prstGeom>
        </p:spPr>
        <p:txBody>
          <a:bodyPr vert="horz" wrap="square" lIns="0" tIns="75565" rIns="0" bIns="0" rtlCol="0">
            <a:spAutoFit/>
          </a:bodyPr>
          <a:lstStyle/>
          <a:p>
            <a:pPr marL="69215">
              <a:lnSpc>
                <a:spcPct val="100000"/>
              </a:lnSpc>
              <a:spcBef>
                <a:spcPts val="595"/>
              </a:spcBef>
            </a:pPr>
            <a:r>
              <a:rPr sz="1600" b="1" spc="-10" dirty="0">
                <a:solidFill>
                  <a:srgbClr val="0E9ED4"/>
                </a:solidFill>
                <a:latin typeface="Arial"/>
                <a:cs typeface="Arial"/>
              </a:rPr>
              <a:t>Microplanning</a:t>
            </a:r>
            <a:endParaRPr sz="1600">
              <a:latin typeface="Arial"/>
              <a:cs typeface="Arial"/>
            </a:endParaRPr>
          </a:p>
          <a:p>
            <a:pPr marL="354965" indent="-228600">
              <a:lnSpc>
                <a:spcPct val="100000"/>
              </a:lnSpc>
              <a:spcBef>
                <a:spcPts val="439"/>
              </a:spcBef>
              <a:buChar char="•"/>
              <a:tabLst>
                <a:tab pos="354965" algn="l"/>
              </a:tabLst>
            </a:pPr>
            <a:r>
              <a:rPr sz="1400" dirty="0">
                <a:latin typeface="Arial"/>
                <a:cs typeface="Arial"/>
              </a:rPr>
              <a:t>18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woreda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velope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D/C</a:t>
            </a:r>
            <a:r>
              <a:rPr sz="1400" spc="-10" dirty="0">
                <a:latin typeface="Arial"/>
                <a:cs typeface="Arial"/>
              </a:rPr>
              <a:t> micro-plans.</a:t>
            </a:r>
            <a:endParaRPr sz="1400">
              <a:latin typeface="Arial"/>
              <a:cs typeface="Arial"/>
            </a:endParaRPr>
          </a:p>
          <a:p>
            <a:pPr marL="354965" marR="790575" indent="-228600">
              <a:lnSpc>
                <a:spcPts val="1510"/>
              </a:lnSpc>
              <a:spcBef>
                <a:spcPts val="620"/>
              </a:spcBef>
              <a:buChar char="•"/>
              <a:tabLst>
                <a:tab pos="354965" algn="l"/>
              </a:tabLst>
            </a:pPr>
            <a:r>
              <a:rPr sz="1400" dirty="0">
                <a:latin typeface="Arial"/>
                <a:cs typeface="Arial"/>
              </a:rPr>
              <a:t>548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takeholder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riented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(health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workers, </a:t>
            </a:r>
            <a:r>
              <a:rPr sz="1400" dirty="0">
                <a:latin typeface="Arial"/>
                <a:cs typeface="Arial"/>
              </a:rPr>
              <a:t>volunteers,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munity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leaders).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885"/>
              </a:spcBef>
              <a:buFont typeface="Arial"/>
              <a:buChar char="•"/>
            </a:pPr>
            <a:endParaRPr sz="1400">
              <a:latin typeface="Arial"/>
              <a:cs typeface="Arial"/>
            </a:endParaRPr>
          </a:p>
          <a:p>
            <a:pPr marL="69215">
              <a:lnSpc>
                <a:spcPct val="100000"/>
              </a:lnSpc>
              <a:spcBef>
                <a:spcPts val="5"/>
              </a:spcBef>
            </a:pPr>
            <a:r>
              <a:rPr sz="1600" b="1" dirty="0">
                <a:solidFill>
                  <a:srgbClr val="0E9ED4"/>
                </a:solidFill>
                <a:latin typeface="Arial"/>
                <a:cs typeface="Arial"/>
              </a:rPr>
              <a:t>Children</a:t>
            </a:r>
            <a:r>
              <a:rPr sz="1600" b="1" spc="-35" dirty="0">
                <a:solidFill>
                  <a:srgbClr val="0E9ED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E9ED4"/>
                </a:solidFill>
                <a:latin typeface="Arial"/>
                <a:cs typeface="Arial"/>
              </a:rPr>
              <a:t>Reached</a:t>
            </a:r>
            <a:endParaRPr sz="1600">
              <a:latin typeface="Arial"/>
              <a:cs typeface="Arial"/>
            </a:endParaRPr>
          </a:p>
          <a:p>
            <a:pPr marL="354965" indent="-228600">
              <a:lnSpc>
                <a:spcPts val="1595"/>
              </a:lnSpc>
              <a:spcBef>
                <a:spcPts val="434"/>
              </a:spcBef>
              <a:buChar char="•"/>
              <a:tabLst>
                <a:tab pos="354965" algn="l"/>
              </a:tabLst>
            </a:pPr>
            <a:r>
              <a:rPr sz="1400" dirty="0">
                <a:latin typeface="Arial"/>
                <a:cs typeface="Arial"/>
              </a:rPr>
              <a:t>26,681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ZD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(68%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f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arget),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28,699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under-vaccinated</a:t>
            </a:r>
            <a:endParaRPr sz="1400">
              <a:latin typeface="Arial"/>
              <a:cs typeface="Arial"/>
            </a:endParaRPr>
          </a:p>
          <a:p>
            <a:pPr marL="354965">
              <a:lnSpc>
                <a:spcPts val="1595"/>
              </a:lnSpc>
            </a:pPr>
            <a:r>
              <a:rPr sz="1400" spc="-10" dirty="0">
                <a:latin typeface="Arial"/>
                <a:cs typeface="Arial"/>
              </a:rPr>
              <a:t>(47%).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905"/>
              </a:spcBef>
            </a:pPr>
            <a:endParaRPr sz="1400">
              <a:latin typeface="Arial"/>
              <a:cs typeface="Arial"/>
            </a:endParaRPr>
          </a:p>
          <a:p>
            <a:pPr marL="69215">
              <a:lnSpc>
                <a:spcPct val="100000"/>
              </a:lnSpc>
            </a:pPr>
            <a:r>
              <a:rPr sz="1600" b="1" dirty="0">
                <a:solidFill>
                  <a:srgbClr val="0E9ED4"/>
                </a:solidFill>
                <a:latin typeface="Arial"/>
                <a:cs typeface="Arial"/>
              </a:rPr>
              <a:t>System</a:t>
            </a:r>
            <a:r>
              <a:rPr sz="1600" b="1" spc="-20" dirty="0">
                <a:solidFill>
                  <a:srgbClr val="0E9ED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E9ED4"/>
                </a:solidFill>
                <a:latin typeface="Arial"/>
                <a:cs typeface="Arial"/>
              </a:rPr>
              <a:t>Strengthening</a:t>
            </a:r>
            <a:endParaRPr sz="1600">
              <a:latin typeface="Arial"/>
              <a:cs typeface="Arial"/>
            </a:endParaRPr>
          </a:p>
          <a:p>
            <a:pPr marL="241300" marR="460375" indent="-228600">
              <a:lnSpc>
                <a:spcPts val="1510"/>
              </a:lnSpc>
              <a:spcBef>
                <a:spcPts val="630"/>
              </a:spcBef>
              <a:buChar char="•"/>
              <a:tabLst>
                <a:tab pos="241300" algn="l"/>
              </a:tabLst>
            </a:pPr>
            <a:r>
              <a:rPr sz="1400" dirty="0">
                <a:latin typeface="Arial"/>
                <a:cs typeface="Arial"/>
              </a:rPr>
              <a:t>Community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ngagement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nhanced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or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improved </a:t>
            </a:r>
            <a:r>
              <a:rPr sz="1400" dirty="0">
                <a:latin typeface="Arial"/>
                <a:cs typeface="Arial"/>
              </a:rPr>
              <a:t>immunization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ervice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uptake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coverage,</a:t>
            </a:r>
            <a:endParaRPr sz="1400">
              <a:latin typeface="Arial"/>
              <a:cs typeface="Arial"/>
            </a:endParaRPr>
          </a:p>
          <a:p>
            <a:pPr marL="240665" indent="-227965">
              <a:lnSpc>
                <a:spcPct val="100000"/>
              </a:lnSpc>
              <a:spcBef>
                <a:spcPts val="409"/>
              </a:spcBef>
              <a:buChar char="•"/>
              <a:tabLst>
                <a:tab pos="240665" algn="l"/>
              </a:tabLst>
            </a:pPr>
            <a:r>
              <a:rPr sz="1400" dirty="0">
                <a:latin typeface="Arial"/>
                <a:cs typeface="Arial"/>
              </a:rPr>
              <a:t>Regular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PI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erformanc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view,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eedback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&amp;follow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up</a:t>
            </a:r>
            <a:endParaRPr sz="1400">
              <a:latin typeface="Arial"/>
              <a:cs typeface="Arial"/>
            </a:endParaRPr>
          </a:p>
          <a:p>
            <a:pPr marL="241300" marR="478155" indent="-228600">
              <a:lnSpc>
                <a:spcPts val="1510"/>
              </a:lnSpc>
              <a:spcBef>
                <a:spcPts val="625"/>
              </a:spcBef>
              <a:buChar char="•"/>
              <a:tabLst>
                <a:tab pos="241300" algn="l"/>
              </a:tabLst>
            </a:pPr>
            <a:r>
              <a:rPr sz="1400" dirty="0">
                <a:latin typeface="Arial"/>
                <a:cs typeface="Arial"/>
              </a:rPr>
              <a:t>36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C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41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P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av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een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ving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services </a:t>
            </a:r>
            <a:r>
              <a:rPr sz="1400" dirty="0">
                <a:latin typeface="Arial"/>
                <a:cs typeface="Arial"/>
              </a:rPr>
              <a:t>compared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with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heir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eviou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performance</a:t>
            </a:r>
            <a:endParaRPr sz="1400">
              <a:latin typeface="Arial"/>
              <a:cs typeface="Arial"/>
            </a:endParaRPr>
          </a:p>
          <a:p>
            <a:pPr marL="240665" indent="-227965">
              <a:lnSpc>
                <a:spcPct val="100000"/>
              </a:lnSpc>
              <a:spcBef>
                <a:spcPts val="409"/>
              </a:spcBef>
              <a:buChar char="•"/>
              <a:tabLst>
                <a:tab pos="240665" algn="l"/>
              </a:tabLst>
            </a:pPr>
            <a:r>
              <a:rPr sz="1400" dirty="0">
                <a:latin typeface="Arial"/>
                <a:cs typeface="Arial"/>
              </a:rPr>
              <a:t>EPI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ata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quality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use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improved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5418759" y="2559050"/>
            <a:ext cx="5737860" cy="3639820"/>
            <a:chOff x="5418759" y="2559050"/>
            <a:chExt cx="5737860" cy="3639820"/>
          </a:xfrm>
        </p:grpSpPr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418759" y="2559050"/>
              <a:ext cx="2741726" cy="3639451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412619" y="2559050"/>
              <a:ext cx="2743619" cy="3639451"/>
            </a:xfrm>
            <a:prstGeom prst="rect">
              <a:avLst/>
            </a:prstGeom>
          </p:spPr>
        </p:pic>
      </p:grpSp>
      <p:sp>
        <p:nvSpPr>
          <p:cNvPr id="11" name="object 11"/>
          <p:cNvSpPr/>
          <p:nvPr/>
        </p:nvSpPr>
        <p:spPr>
          <a:xfrm>
            <a:off x="11542700" y="1998370"/>
            <a:ext cx="152400" cy="782320"/>
          </a:xfrm>
          <a:custGeom>
            <a:avLst/>
            <a:gdLst/>
            <a:ahLst/>
            <a:cxnLst/>
            <a:rect l="l" t="t" r="r" b="b"/>
            <a:pathLst>
              <a:path w="152400" h="782319">
                <a:moveTo>
                  <a:pt x="152387" y="781700"/>
                </a:moveTo>
                <a:lnTo>
                  <a:pt x="152387" y="0"/>
                </a:lnTo>
                <a:lnTo>
                  <a:pt x="0" y="0"/>
                </a:lnTo>
                <a:lnTo>
                  <a:pt x="0" y="781700"/>
                </a:lnTo>
                <a:lnTo>
                  <a:pt x="152387" y="781700"/>
                </a:lnTo>
                <a:close/>
              </a:path>
            </a:pathLst>
          </a:custGeom>
          <a:solidFill>
            <a:srgbClr val="0E9ED4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2" name="object 1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8500" y="64865"/>
            <a:ext cx="1259824" cy="1063447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885832" y="54972"/>
            <a:ext cx="2237663" cy="773087"/>
          </a:xfrm>
          <a:prstGeom prst="rect">
            <a:avLst/>
          </a:prstGeom>
        </p:spPr>
      </p:pic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2039164" y="840304"/>
            <a:ext cx="7699375" cy="635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905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rgbClr val="0070BF"/>
                </a:solidFill>
              </a:rPr>
              <a:t>Reducing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Zero</a:t>
            </a:r>
            <a:r>
              <a:rPr spc="-6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dose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and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Under</a:t>
            </a:r>
            <a:r>
              <a:rPr spc="-5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Immunized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Children</a:t>
            </a:r>
            <a:r>
              <a:rPr spc="-65" dirty="0">
                <a:solidFill>
                  <a:srgbClr val="0070BF"/>
                </a:solidFill>
              </a:rPr>
              <a:t> </a:t>
            </a:r>
            <a:r>
              <a:rPr spc="-10" dirty="0">
                <a:solidFill>
                  <a:srgbClr val="0070BF"/>
                </a:solidFill>
              </a:rPr>
              <a:t>through </a:t>
            </a:r>
            <a:r>
              <a:rPr dirty="0">
                <a:solidFill>
                  <a:srgbClr val="0070BF"/>
                </a:solidFill>
              </a:rPr>
              <a:t>Local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CSOs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in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Hard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to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reach</a:t>
            </a:r>
            <a:r>
              <a:rPr spc="-3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and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pastoralist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regions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of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spc="-10" dirty="0">
                <a:solidFill>
                  <a:srgbClr val="0070BF"/>
                </a:solidFill>
              </a:rPr>
              <a:t>Ethiopia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234734" y="1880742"/>
            <a:ext cx="5534025" cy="4715510"/>
          </a:xfrm>
          <a:custGeom>
            <a:avLst/>
            <a:gdLst/>
            <a:ahLst/>
            <a:cxnLst/>
            <a:rect l="l" t="t" r="r" b="b"/>
            <a:pathLst>
              <a:path w="5534025" h="4715509">
                <a:moveTo>
                  <a:pt x="5533504" y="0"/>
                </a:moveTo>
                <a:lnTo>
                  <a:pt x="0" y="0"/>
                </a:lnTo>
                <a:lnTo>
                  <a:pt x="0" y="4715459"/>
                </a:lnTo>
                <a:lnTo>
                  <a:pt x="5533504" y="4715459"/>
                </a:lnTo>
                <a:lnTo>
                  <a:pt x="5533504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8500" y="64865"/>
            <a:ext cx="1259824" cy="1063447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885832" y="54972"/>
            <a:ext cx="2237663" cy="773087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body" idx="1"/>
          </p:nvPr>
        </p:nvSpPr>
        <p:spPr>
          <a:xfrm>
            <a:off x="6381596" y="1935888"/>
            <a:ext cx="5116195" cy="1971694"/>
          </a:xfrm>
          <a:prstGeom prst="rect">
            <a:avLst/>
          </a:prstGeom>
        </p:spPr>
        <p:txBody>
          <a:bodyPr vert="horz" wrap="square" lIns="0" tIns="12382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75"/>
              </a:spcBef>
            </a:pPr>
            <a:r>
              <a:rPr spc="-10" dirty="0"/>
              <a:t>Scale/Retain</a:t>
            </a:r>
          </a:p>
          <a:p>
            <a:pPr marL="227965" marR="5080" indent="-228600">
              <a:lnSpc>
                <a:spcPts val="1939"/>
              </a:lnSpc>
              <a:spcBef>
                <a:spcPts val="1035"/>
              </a:spcBef>
              <a:buClr>
                <a:srgbClr val="0E9ED4"/>
              </a:buClr>
              <a:buChar char="•"/>
              <a:tabLst>
                <a:tab pos="227965" algn="l"/>
              </a:tabLst>
            </a:pP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Strong</a:t>
            </a:r>
            <a:r>
              <a:rPr sz="1800" b="0" spc="-3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community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engagement</a:t>
            </a:r>
            <a:r>
              <a:rPr sz="1800" b="0" spc="-2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such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as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volunteers,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and</a:t>
            </a:r>
            <a:r>
              <a:rPr sz="1800" b="0" spc="-3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religious/clan</a:t>
            </a:r>
            <a:r>
              <a:rPr sz="1800" b="0" spc="-3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leaders.</a:t>
            </a:r>
            <a:endParaRPr sz="1800" dirty="0">
              <a:latin typeface="Arial"/>
              <a:cs typeface="Arial"/>
            </a:endParaRPr>
          </a:p>
          <a:p>
            <a:pPr marL="227965" marR="727710" indent="-228600">
              <a:lnSpc>
                <a:spcPts val="1939"/>
              </a:lnSpc>
              <a:spcBef>
                <a:spcPts val="1010"/>
              </a:spcBef>
              <a:buClr>
                <a:srgbClr val="0E9ED4"/>
              </a:buClr>
              <a:buChar char="•"/>
              <a:tabLst>
                <a:tab pos="227965" algn="l"/>
              </a:tabLst>
            </a:pP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Integrated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outreach</a:t>
            </a:r>
            <a:r>
              <a:rPr sz="1800" b="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for</a:t>
            </a:r>
            <a:r>
              <a:rPr sz="1800" b="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hard-to-reach/mobile populations.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314135" y="4166204"/>
            <a:ext cx="100076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2000" b="1" spc="-10" dirty="0">
                <a:solidFill>
                  <a:srgbClr val="0070BF"/>
                </a:solidFill>
                <a:latin typeface="Arial"/>
                <a:cs typeface="Arial"/>
              </a:rPr>
              <a:t>Improve</a:t>
            </a:r>
            <a:endParaRPr sz="20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314135" y="4471541"/>
            <a:ext cx="5116195" cy="1203960"/>
          </a:xfrm>
          <a:prstGeom prst="rect">
            <a:avLst/>
          </a:prstGeom>
        </p:spPr>
        <p:txBody>
          <a:bodyPr vert="horz" wrap="square" lIns="0" tIns="48894" rIns="0" bIns="0" rtlCol="0">
            <a:spAutoFit/>
          </a:bodyPr>
          <a:lstStyle/>
          <a:p>
            <a:pPr marL="353695" indent="-353695">
              <a:lnSpc>
                <a:spcPct val="100000"/>
              </a:lnSpc>
              <a:spcBef>
                <a:spcPts val="384"/>
              </a:spcBef>
              <a:buClr>
                <a:srgbClr val="0E9ED4"/>
              </a:buClr>
              <a:buChar char="•"/>
              <a:tabLst>
                <a:tab pos="353695" algn="l"/>
              </a:tabLst>
            </a:pPr>
            <a:r>
              <a:rPr sz="1800" dirty="0">
                <a:latin typeface="Arial"/>
                <a:cs typeface="Arial"/>
              </a:rPr>
              <a:t>Government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-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CSO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coordination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collaboration.</a:t>
            </a:r>
            <a:endParaRPr sz="1800">
              <a:latin typeface="Arial"/>
              <a:cs typeface="Arial"/>
            </a:endParaRPr>
          </a:p>
          <a:p>
            <a:pPr marL="353695" marR="5080" indent="-354330">
              <a:lnSpc>
                <a:spcPts val="1939"/>
              </a:lnSpc>
              <a:spcBef>
                <a:spcPts val="530"/>
              </a:spcBef>
              <a:buClr>
                <a:srgbClr val="0E9ED4"/>
              </a:buClr>
              <a:buChar char="•"/>
              <a:tabLst>
                <a:tab pos="353695" algn="l"/>
              </a:tabLst>
            </a:pPr>
            <a:r>
              <a:rPr sz="1800" dirty="0">
                <a:latin typeface="Arial"/>
                <a:cs typeface="Arial"/>
              </a:rPr>
              <a:t>Local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resource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mobilization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for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sustainable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spc="-25" dirty="0">
                <a:latin typeface="Arial"/>
                <a:cs typeface="Arial"/>
              </a:rPr>
              <a:t>EPI </a:t>
            </a:r>
            <a:r>
              <a:rPr sz="1800" dirty="0">
                <a:latin typeface="Arial"/>
                <a:cs typeface="Arial"/>
              </a:rPr>
              <a:t>service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delivery.</a:t>
            </a:r>
            <a:endParaRPr sz="1800">
              <a:latin typeface="Arial"/>
              <a:cs typeface="Arial"/>
            </a:endParaRPr>
          </a:p>
          <a:p>
            <a:pPr marL="353695" indent="-353695">
              <a:lnSpc>
                <a:spcPct val="100000"/>
              </a:lnSpc>
              <a:spcBef>
                <a:spcPts val="260"/>
              </a:spcBef>
              <a:buClr>
                <a:srgbClr val="0E9ED4"/>
              </a:buClr>
              <a:buChar char="•"/>
              <a:tabLst>
                <a:tab pos="353695" algn="l"/>
              </a:tabLst>
            </a:pPr>
            <a:r>
              <a:rPr sz="1800" dirty="0">
                <a:latin typeface="Arial"/>
                <a:cs typeface="Arial"/>
              </a:rPr>
              <a:t>Utilize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real-</a:t>
            </a:r>
            <a:r>
              <a:rPr sz="1800" dirty="0">
                <a:latin typeface="Arial"/>
                <a:cs typeface="Arial"/>
              </a:rPr>
              <a:t>time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data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for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action.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51548" y="1880742"/>
            <a:ext cx="2459355" cy="1475740"/>
          </a:xfrm>
          <a:prstGeom prst="rect">
            <a:avLst/>
          </a:prstGeom>
          <a:solidFill>
            <a:srgbClr val="0070BF"/>
          </a:solidFill>
        </p:spPr>
        <p:txBody>
          <a:bodyPr vert="horz" wrap="square" lIns="0" tIns="71755" rIns="0" bIns="0" rtlCol="0">
            <a:spAutoFit/>
          </a:bodyPr>
          <a:lstStyle/>
          <a:p>
            <a:pPr marL="180975" marR="174625" indent="635" algn="ctr">
              <a:lnSpc>
                <a:spcPts val="1939"/>
              </a:lnSpc>
              <a:spcBef>
                <a:spcPts val="565"/>
              </a:spcBef>
            </a:pP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Low</a:t>
            </a:r>
            <a:r>
              <a:rPr sz="18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FFFFFF"/>
                </a:solidFill>
                <a:latin typeface="Arial"/>
                <a:cs typeface="Arial"/>
              </a:rPr>
              <a:t>immunization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coverage</a:t>
            </a:r>
            <a:r>
              <a:rPr sz="18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in</a:t>
            </a:r>
            <a:r>
              <a:rPr sz="18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FFFFFF"/>
                </a:solidFill>
                <a:latin typeface="Arial"/>
                <a:cs typeface="Arial"/>
              </a:rPr>
              <a:t>remote kebeles:</a:t>
            </a:r>
            <a:endParaRPr sz="1800">
              <a:latin typeface="Arial"/>
              <a:cs typeface="Arial"/>
            </a:endParaRPr>
          </a:p>
          <a:p>
            <a:pPr marL="212725" marR="206375" algn="ctr">
              <a:lnSpc>
                <a:spcPts val="1939"/>
              </a:lnSpc>
              <a:spcBef>
                <a:spcPts val="765"/>
              </a:spcBef>
            </a:pP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RED</a:t>
            </a:r>
            <a:r>
              <a:rPr sz="1800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microp</a:t>
            </a:r>
            <a:r>
              <a:rPr sz="1800" spc="-1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anning,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PIRI,</a:t>
            </a:r>
            <a:r>
              <a:rPr sz="1800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outreach.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256508" y="1880742"/>
            <a:ext cx="2459355" cy="1475740"/>
          </a:xfrm>
          <a:prstGeom prst="rect">
            <a:avLst/>
          </a:prstGeom>
          <a:solidFill>
            <a:srgbClr val="0070BF"/>
          </a:solidFill>
        </p:spPr>
        <p:txBody>
          <a:bodyPr vert="horz" wrap="square" lIns="0" tIns="119380" rIns="0" bIns="0" rtlCol="0">
            <a:spAutoFit/>
          </a:bodyPr>
          <a:lstStyle/>
          <a:p>
            <a:pPr marL="245110" marR="237490" algn="ctr">
              <a:lnSpc>
                <a:spcPts val="1939"/>
              </a:lnSpc>
              <a:spcBef>
                <a:spcPts val="940"/>
              </a:spcBef>
            </a:pP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r>
              <a:rPr sz="18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quality</a:t>
            </a:r>
            <a:r>
              <a:rPr sz="18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spc="-20" dirty="0">
                <a:solidFill>
                  <a:srgbClr val="FFFFFF"/>
                </a:solidFill>
                <a:latin typeface="Arial"/>
                <a:cs typeface="Arial"/>
              </a:rPr>
              <a:t>gaps: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Utilized</a:t>
            </a:r>
            <a:r>
              <a:rPr sz="1800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real</a:t>
            </a:r>
            <a:r>
              <a:rPr sz="1800" spc="-20" dirty="0">
                <a:solidFill>
                  <a:srgbClr val="FFFFFF"/>
                </a:solidFill>
                <a:latin typeface="Arial"/>
                <a:cs typeface="Arial"/>
              </a:rPr>
              <a:t> time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reporting</a:t>
            </a:r>
            <a:r>
              <a:rPr sz="1800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tools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(Google</a:t>
            </a:r>
            <a:r>
              <a:rPr sz="1800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sheets, DHIS2).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51548" y="3602088"/>
            <a:ext cx="2459355" cy="1475740"/>
          </a:xfrm>
          <a:prstGeom prst="rect">
            <a:avLst/>
          </a:prstGeom>
          <a:solidFill>
            <a:srgbClr val="0070BF"/>
          </a:solidFill>
        </p:spPr>
        <p:txBody>
          <a:bodyPr vert="horz" wrap="square" lIns="0" tIns="243205" rIns="0" bIns="0" rtlCol="0">
            <a:spAutoFit/>
          </a:bodyPr>
          <a:lstStyle/>
          <a:p>
            <a:pPr marL="130175" marR="123825" algn="ctr">
              <a:lnSpc>
                <a:spcPts val="1939"/>
              </a:lnSpc>
              <a:spcBef>
                <a:spcPts val="1915"/>
              </a:spcBef>
            </a:pP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Skill</a:t>
            </a:r>
            <a:r>
              <a:rPr sz="18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gaps</a:t>
            </a:r>
            <a:r>
              <a:rPr sz="18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of</a:t>
            </a:r>
            <a:r>
              <a:rPr sz="1800" b="1" spc="-10" dirty="0">
                <a:solidFill>
                  <a:srgbClr val="FFFFFF"/>
                </a:solidFill>
                <a:latin typeface="Arial"/>
                <a:cs typeface="Arial"/>
              </a:rPr>
              <a:t> service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providers:</a:t>
            </a:r>
            <a:r>
              <a:rPr sz="18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On-</a:t>
            </a:r>
            <a:r>
              <a:rPr sz="1800" spc="-20" dirty="0">
                <a:solidFill>
                  <a:srgbClr val="FFFFFF"/>
                </a:solidFill>
                <a:latin typeface="Arial"/>
                <a:cs typeface="Arial"/>
              </a:rPr>
              <a:t>site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training</a:t>
            </a:r>
            <a:r>
              <a:rPr sz="1800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25" dirty="0">
                <a:solidFill>
                  <a:srgbClr val="FFFFFF"/>
                </a:solidFill>
                <a:latin typeface="Arial"/>
                <a:cs typeface="Arial"/>
              </a:rPr>
              <a:t>and 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mentoring.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256508" y="3602088"/>
            <a:ext cx="2459355" cy="1475740"/>
          </a:xfrm>
          <a:prstGeom prst="rect">
            <a:avLst/>
          </a:prstGeom>
          <a:solidFill>
            <a:srgbClr val="0070BF"/>
          </a:solidFill>
        </p:spPr>
        <p:txBody>
          <a:bodyPr vert="horz" wrap="square" lIns="0" tIns="243205" rIns="0" bIns="0" rtlCol="0">
            <a:spAutoFit/>
          </a:bodyPr>
          <a:lstStyle/>
          <a:p>
            <a:pPr marL="92075" marR="85725" algn="ctr">
              <a:lnSpc>
                <a:spcPts val="1939"/>
              </a:lnSpc>
              <a:spcBef>
                <a:spcPts val="1915"/>
              </a:spcBef>
            </a:pP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HEW</a:t>
            </a:r>
            <a:r>
              <a:rPr sz="18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FFFFFF"/>
                </a:solidFill>
                <a:latin typeface="Arial"/>
                <a:cs typeface="Arial"/>
              </a:rPr>
              <a:t>absenteeism: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Motivational</a:t>
            </a:r>
            <a:r>
              <a:rPr sz="1800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strategies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to</a:t>
            </a:r>
            <a:r>
              <a:rPr sz="18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improve</a:t>
            </a:r>
            <a:r>
              <a:rPr sz="18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their performance.</a:t>
            </a:r>
            <a:endParaRPr sz="18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904034" y="5323420"/>
            <a:ext cx="2459355" cy="1475740"/>
          </a:xfrm>
          <a:prstGeom prst="rect">
            <a:avLst/>
          </a:prstGeom>
          <a:solidFill>
            <a:srgbClr val="0070BF"/>
          </a:solidFill>
        </p:spPr>
        <p:txBody>
          <a:bodyPr vert="horz" wrap="square" lIns="0" tIns="10350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15"/>
              </a:spcBef>
            </a:pPr>
            <a:endParaRPr sz="1800">
              <a:latin typeface="Times New Roman"/>
              <a:cs typeface="Times New Roman"/>
            </a:endParaRPr>
          </a:p>
          <a:p>
            <a:pPr marL="117475" marR="112395" indent="50800" algn="just">
              <a:lnSpc>
                <a:spcPts val="1939"/>
              </a:lnSpc>
            </a:pP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Cold</a:t>
            </a:r>
            <a:r>
              <a:rPr sz="18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chain</a:t>
            </a:r>
            <a:r>
              <a:rPr sz="18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FFFFFF"/>
                </a:solidFill>
                <a:latin typeface="Arial"/>
                <a:cs typeface="Arial"/>
              </a:rPr>
              <a:t>failures: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Facilitated</a:t>
            </a:r>
            <a:r>
              <a:rPr sz="1800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refrigerator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inventory</a:t>
            </a:r>
            <a:r>
              <a:rPr sz="1800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and</a:t>
            </a:r>
            <a:r>
              <a:rPr sz="18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repair.</a:t>
            </a:r>
            <a:endParaRPr sz="18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97839" y="1275600"/>
            <a:ext cx="5071745" cy="458470"/>
          </a:xfrm>
          <a:prstGeom prst="rect">
            <a:avLst/>
          </a:prstGeom>
          <a:solidFill>
            <a:srgbClr val="00B0F0"/>
          </a:solidFill>
        </p:spPr>
        <p:txBody>
          <a:bodyPr vert="horz" wrap="square" lIns="0" tIns="8699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685"/>
              </a:spcBef>
            </a:pP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Key</a:t>
            </a:r>
            <a:r>
              <a:rPr sz="18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challenges</a:t>
            </a:r>
            <a:r>
              <a:rPr sz="18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FFFFFF"/>
                </a:solidFill>
                <a:latin typeface="Arial"/>
                <a:cs typeface="Arial"/>
              </a:rPr>
              <a:t>faced</a:t>
            </a:r>
            <a:endParaRPr sz="18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222695" y="1275600"/>
            <a:ext cx="5558155" cy="458470"/>
          </a:xfrm>
          <a:prstGeom prst="rect">
            <a:avLst/>
          </a:prstGeom>
          <a:solidFill>
            <a:srgbClr val="BFBFBF"/>
          </a:solidFill>
        </p:spPr>
        <p:txBody>
          <a:bodyPr vert="horz" wrap="square" lIns="0" tIns="8699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685"/>
              </a:spcBef>
            </a:pP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Recommendation</a:t>
            </a:r>
            <a:r>
              <a:rPr sz="18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to</a:t>
            </a:r>
            <a:r>
              <a:rPr sz="18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Gavi</a:t>
            </a:r>
            <a:r>
              <a:rPr sz="18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FFFF"/>
                </a:solidFill>
                <a:latin typeface="Arial"/>
                <a:cs typeface="Arial"/>
              </a:rPr>
              <a:t>for</a:t>
            </a:r>
            <a:r>
              <a:rPr sz="18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spc="-25" dirty="0">
                <a:solidFill>
                  <a:srgbClr val="FFFFFF"/>
                </a:solidFill>
                <a:latin typeface="Arial"/>
                <a:cs typeface="Arial"/>
              </a:rPr>
              <a:t>6.0</a:t>
            </a:r>
            <a:endParaRPr sz="1800">
              <a:latin typeface="Arial"/>
              <a:cs typeface="Arial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2681890" y="193699"/>
            <a:ext cx="6358255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635" algn="ctr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rgbClr val="0070BF"/>
                </a:solidFill>
              </a:rPr>
              <a:t>Reducing</a:t>
            </a:r>
            <a:r>
              <a:rPr spc="-6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Zero</a:t>
            </a:r>
            <a:r>
              <a:rPr spc="-6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dose</a:t>
            </a:r>
            <a:r>
              <a:rPr spc="-5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and</a:t>
            </a:r>
            <a:r>
              <a:rPr spc="-5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Under</a:t>
            </a:r>
            <a:r>
              <a:rPr spc="-5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Immunized</a:t>
            </a:r>
            <a:r>
              <a:rPr spc="-55" dirty="0">
                <a:solidFill>
                  <a:srgbClr val="0070BF"/>
                </a:solidFill>
              </a:rPr>
              <a:t> </a:t>
            </a:r>
            <a:r>
              <a:rPr spc="-10" dirty="0">
                <a:solidFill>
                  <a:srgbClr val="0070BF"/>
                </a:solidFill>
              </a:rPr>
              <a:t>Children </a:t>
            </a:r>
            <a:r>
              <a:rPr dirty="0">
                <a:solidFill>
                  <a:srgbClr val="0070BF"/>
                </a:solidFill>
              </a:rPr>
              <a:t>through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Local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CSOs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in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Hard</a:t>
            </a:r>
            <a:r>
              <a:rPr spc="-3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to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reach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and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spc="-10" dirty="0">
                <a:solidFill>
                  <a:srgbClr val="0070BF"/>
                </a:solidFill>
              </a:rPr>
              <a:t>pastoralist </a:t>
            </a:r>
            <a:r>
              <a:rPr dirty="0">
                <a:solidFill>
                  <a:srgbClr val="0070BF"/>
                </a:solidFill>
              </a:rPr>
              <a:t>regions</a:t>
            </a:r>
            <a:r>
              <a:rPr spc="-45" dirty="0">
                <a:solidFill>
                  <a:srgbClr val="0070BF"/>
                </a:solidFill>
              </a:rPr>
              <a:t> </a:t>
            </a:r>
            <a:r>
              <a:rPr dirty="0">
                <a:solidFill>
                  <a:srgbClr val="0070BF"/>
                </a:solidFill>
              </a:rPr>
              <a:t>of</a:t>
            </a:r>
            <a:r>
              <a:rPr spc="-40" dirty="0">
                <a:solidFill>
                  <a:srgbClr val="0070BF"/>
                </a:solidFill>
              </a:rPr>
              <a:t> </a:t>
            </a:r>
            <a:r>
              <a:rPr spc="-10" dirty="0">
                <a:solidFill>
                  <a:srgbClr val="0070BF"/>
                </a:solidFill>
              </a:rPr>
              <a:t>Ethiopia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203862" y="3852646"/>
            <a:ext cx="1783714" cy="4521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b="0" dirty="0">
                <a:solidFill>
                  <a:srgbClr val="0070BF"/>
                </a:solidFill>
                <a:latin typeface="Arial"/>
                <a:cs typeface="Arial"/>
              </a:rPr>
              <a:t>Thank</a:t>
            </a:r>
            <a:r>
              <a:rPr sz="2800" b="0" spc="-80" dirty="0">
                <a:solidFill>
                  <a:srgbClr val="0070BF"/>
                </a:solidFill>
                <a:latin typeface="Arial"/>
                <a:cs typeface="Arial"/>
              </a:rPr>
              <a:t> </a:t>
            </a:r>
            <a:r>
              <a:rPr sz="2800" b="0" spc="-20" dirty="0">
                <a:solidFill>
                  <a:srgbClr val="0070BF"/>
                </a:solidFill>
                <a:latin typeface="Arial"/>
                <a:cs typeface="Arial"/>
              </a:rPr>
              <a:t>you!</a:t>
            </a:r>
            <a:endParaRPr sz="2800">
              <a:latin typeface="Arial"/>
              <a:cs typeface="Arial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8500" y="64865"/>
            <a:ext cx="1259824" cy="1063447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885832" y="54972"/>
            <a:ext cx="2237663" cy="773087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3785425E-2176-8F81-D07A-0F79280B2AE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solidFill>
            <a:schemeClr val="tx2">
              <a:lumMod val="5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B37196-F32F-6148-3FF9-BE115E4083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SO Dialogue</a:t>
            </a:r>
          </a:p>
        </p:txBody>
      </p:sp>
    </p:spTree>
    <p:extLst>
      <p:ext uri="{BB962C8B-B14F-4D97-AF65-F5344CB8AC3E}">
        <p14:creationId xmlns:p14="http://schemas.microsoft.com/office/powerpoint/2010/main" val="8762387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1A0871-175A-6D17-4D51-8E66664889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3213" y="2843358"/>
            <a:ext cx="5346875" cy="3455841"/>
          </a:xfrm>
        </p:spPr>
        <p:txBody>
          <a:bodyPr vert="horz" lIns="0" tIns="0" rIns="0" bIns="0" rtlCol="0" anchor="t">
            <a:normAutofit/>
          </a:bodyPr>
          <a:lstStyle/>
          <a:p>
            <a:pPr marL="571500" indent="-571500">
              <a:lnSpc>
                <a:spcPct val="100000"/>
              </a:lnSpc>
              <a:buFont typeface="+mj-lt"/>
              <a:buAutoNum type="romanUcPeriod"/>
            </a:pPr>
            <a:r>
              <a:rPr lang="en-US" sz="2400" dirty="0"/>
              <a:t>Welcome &amp; Gavi’s Vision for CSOs in Health Systems</a:t>
            </a:r>
          </a:p>
          <a:p>
            <a:pPr marL="571500" indent="-571500">
              <a:lnSpc>
                <a:spcPct val="100000"/>
              </a:lnSpc>
              <a:buFont typeface="+mj-lt"/>
              <a:buAutoNum type="romanUcPeriod"/>
            </a:pPr>
            <a:endParaRPr lang="en-US" sz="2400" dirty="0"/>
          </a:p>
          <a:p>
            <a:pPr marL="571500" indent="-571500">
              <a:lnSpc>
                <a:spcPct val="100000"/>
              </a:lnSpc>
              <a:buFont typeface="+mj-lt"/>
              <a:buAutoNum type="romanUcPeriod"/>
            </a:pPr>
            <a:r>
              <a:rPr lang="en-US" sz="2400" dirty="0"/>
              <a:t>Gavi CSO Spotlights </a:t>
            </a:r>
          </a:p>
          <a:p>
            <a:pPr marL="571500" indent="-571500">
              <a:lnSpc>
                <a:spcPct val="100000"/>
              </a:lnSpc>
              <a:buFont typeface="+mj-lt"/>
              <a:buAutoNum type="romanUcPeriod"/>
            </a:pPr>
            <a:endParaRPr lang="en-US" sz="2400" dirty="0"/>
          </a:p>
          <a:p>
            <a:pPr marL="571500" indent="-571500">
              <a:lnSpc>
                <a:spcPct val="100000"/>
              </a:lnSpc>
              <a:buFont typeface="+mj-lt"/>
              <a:buAutoNum type="romanUcPeriod"/>
            </a:pPr>
            <a:r>
              <a:rPr lang="en-US" sz="2400" dirty="0"/>
              <a:t>CSO Dialogue</a:t>
            </a:r>
          </a:p>
          <a:p>
            <a:pPr>
              <a:lnSpc>
                <a:spcPct val="100000"/>
              </a:lnSpc>
            </a:pPr>
            <a:endParaRPr lang="en-US" sz="2400" dirty="0"/>
          </a:p>
          <a:p>
            <a:pPr>
              <a:lnSpc>
                <a:spcPct val="100000"/>
              </a:lnSpc>
            </a:pPr>
            <a:r>
              <a:rPr lang="en-US" sz="2400" dirty="0"/>
              <a:t>IV.   6.0 Strategy and Policy Briefing  &amp;  Board Update</a:t>
            </a:r>
          </a:p>
          <a:p>
            <a:endParaRPr lang="en-US" sz="2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B63690-F863-2B44-7DF9-E3BC3B66D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1800"/>
              <a:t>AGENDA</a:t>
            </a:r>
          </a:p>
        </p:txBody>
      </p:sp>
      <p:pic>
        <p:nvPicPr>
          <p:cNvPr id="10" name="Picture Placeholder 9" descr="A person holding a baby on a bench&#10;&#10;Description automatically generated">
            <a:extLst>
              <a:ext uri="{FF2B5EF4-FFF2-40B4-BE49-F238E27FC236}">
                <a16:creationId xmlns:a16="http://schemas.microsoft.com/office/drawing/2014/main" id="{43EA7774-C29C-51B9-B0E5-11C9E7697CA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</p:spTree>
    <p:extLst>
      <p:ext uri="{BB962C8B-B14F-4D97-AF65-F5344CB8AC3E}">
        <p14:creationId xmlns:p14="http://schemas.microsoft.com/office/powerpoint/2010/main" val="19659877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">
            <a:extLst>
              <a:ext uri="{FF2B5EF4-FFF2-40B4-BE49-F238E27FC236}">
                <a16:creationId xmlns:a16="http://schemas.microsoft.com/office/drawing/2014/main" id="{4424D39D-4D4C-A912-AEF8-DEAA490585C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solidFill>
            <a:schemeClr val="tx2">
              <a:lumMod val="5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A4ED-01A5-8748-9624-0F64ADE841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700" b="1">
                <a:effectLst/>
              </a:rPr>
              <a:t>Gavi 6.0 Strategy Briefing + CSO Board Update</a:t>
            </a:r>
            <a:endParaRPr lang="en-US" sz="4700"/>
          </a:p>
        </p:txBody>
      </p:sp>
    </p:spTree>
    <p:extLst>
      <p:ext uri="{BB962C8B-B14F-4D97-AF65-F5344CB8AC3E}">
        <p14:creationId xmlns:p14="http://schemas.microsoft.com/office/powerpoint/2010/main" val="780702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F840537-FACF-22E5-59EB-FA29AF4623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7" progId="TCLayout.ActiveDocument.1">
                  <p:embed/>
                </p:oleObj>
              </mc:Choice>
              <mc:Fallback>
                <p:oleObj name="think-cell Slide" r:id="rId4" imgW="347" imgH="34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840537-FACF-22E5-59EB-FA29AF462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A2C589-28A4-424B-E60C-8ABBD5D437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4E19B4D-7946-3929-5D58-D2E4A94B6AC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/>
          <a:srcRect l="-177" r="19640"/>
          <a:stretch/>
        </p:blipFill>
        <p:spPr>
          <a:xfrm>
            <a:off x="5685640" y="0"/>
            <a:ext cx="6506360" cy="6858000"/>
          </a:xfrm>
          <a:prstGeom prst="round1Rect">
            <a:avLst>
              <a:gd name="adj" fmla="val 32047"/>
            </a:avLst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338ED9-AE47-48B9-C0C9-E8EB2F3B892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FFFBD7-20A5-44B9-D89C-E67510EC82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sz="6600">
                <a:effectLst/>
                <a:ea typeface="Aptos" panose="020B0004020202020204" pitchFamily="34" charset="0"/>
              </a:rPr>
              <a:t>Gavi Leap</a:t>
            </a:r>
            <a:endParaRPr lang="en-US"/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378EA89B-3A4B-8FE9-1E7C-5077BA600B0B}"/>
              </a:ext>
            </a:extLst>
          </p:cNvPr>
          <p:cNvSpPr txBox="1">
            <a:spLocks/>
          </p:cNvSpPr>
          <p:nvPr/>
        </p:nvSpPr>
        <p:spPr>
          <a:xfrm>
            <a:off x="521719" y="664689"/>
            <a:ext cx="5122616" cy="2021623"/>
          </a:xfrm>
          <a:prstGeom prst="round1Rect">
            <a:avLst>
              <a:gd name="adj" fmla="val 14462"/>
            </a:avLst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1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sforming through simplicity, transparency and synergy</a:t>
            </a:r>
            <a:endParaRPr kumimoji="0" lang="en-GB" sz="2800" b="0" i="1" u="sng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BAC1A188-3A0F-A721-8153-3080E24A1624}"/>
              </a:ext>
            </a:extLst>
          </p:cNvPr>
          <p:cNvSpPr txBox="1">
            <a:spLocks/>
          </p:cNvSpPr>
          <p:nvPr/>
        </p:nvSpPr>
        <p:spPr>
          <a:xfrm>
            <a:off x="521719" y="3163340"/>
            <a:ext cx="5163922" cy="2021623"/>
          </a:xfrm>
          <a:prstGeom prst="round1Rect">
            <a:avLst>
              <a:gd name="adj" fmla="val 14462"/>
            </a:avLst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nges are required to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ll out 6.0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ables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form of Gavi in a new era 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nciples are a blueprint for a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der global health leap </a:t>
            </a:r>
          </a:p>
          <a:p>
            <a:pPr marL="1084263" marR="0" lvl="0" indent="-5095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untry centricity </a:t>
            </a:r>
          </a:p>
          <a:p>
            <a:pPr marL="1084263" marR="0" lvl="0" indent="-5095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untry sovereignty </a:t>
            </a:r>
          </a:p>
          <a:p>
            <a:pPr marL="1084263" marR="0" lvl="0" indent="-5095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cused mandates </a:t>
            </a:r>
          </a:p>
          <a:p>
            <a:pPr marL="1084263" marR="0" lvl="0" indent="-5095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ite lifespans</a:t>
            </a:r>
            <a:endParaRPr kumimoji="0" lang="en-GB" sz="2000" b="0" i="1" u="sng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75509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>
            <a:extLst>
              <a:ext uri="{FF2B5EF4-FFF2-40B4-BE49-F238E27FC236}">
                <a16:creationId xmlns:a16="http://schemas.microsoft.com/office/drawing/2014/main" id="{18C1B7C7-084F-6C10-EF84-D8F6CAC0D251}"/>
              </a:ext>
            </a:extLst>
          </p:cNvPr>
          <p:cNvSpPr>
            <a:spLocks/>
          </p:cNvSpPr>
          <p:nvPr/>
        </p:nvSpPr>
        <p:spPr>
          <a:xfrm>
            <a:off x="317500" y="6172200"/>
            <a:ext cx="11722100" cy="518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782040B-BE84-1754-C4BE-2D18A89B25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82040B-BE84-1754-C4BE-2D18A89B2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3A71F2-CD7A-CEE4-AAC6-772944358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6" y="343815"/>
            <a:ext cx="11274843" cy="592778"/>
          </a:xfrm>
        </p:spPr>
        <p:txBody>
          <a:bodyPr vert="horz">
            <a:noAutofit/>
          </a:bodyPr>
          <a:lstStyle/>
          <a:p>
            <a:r>
              <a:rPr lang="en-GB" sz="2800">
                <a:latin typeface="Arial"/>
                <a:cs typeface="Arial"/>
              </a:rPr>
              <a:t>The Gavi 6.0 strategy defines priorities for Gavi’s support to countries</a:t>
            </a:r>
            <a:endParaRPr lang="en-US" sz="2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6FD05C-3E81-25CB-408C-8250A18E5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EC780AA-F662-C581-172D-FF13FEAB8939}"/>
              </a:ext>
            </a:extLst>
          </p:cNvPr>
          <p:cNvGrpSpPr/>
          <p:nvPr/>
        </p:nvGrpSpPr>
        <p:grpSpPr>
          <a:xfrm>
            <a:off x="601942" y="1292432"/>
            <a:ext cx="11188838" cy="5255599"/>
            <a:chOff x="601942" y="848510"/>
            <a:chExt cx="11188838" cy="5255599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3A1669FF-1226-6B00-2757-AAC09209CA43}"/>
                </a:ext>
              </a:extLst>
            </p:cNvPr>
            <p:cNvSpPr/>
            <p:nvPr/>
          </p:nvSpPr>
          <p:spPr>
            <a:xfrm>
              <a:off x="1136024" y="848510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2095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aving no one behind with </a:t>
              </a:r>
              <a:r>
                <a:rPr kumimoji="0" lang="en-GB" sz="16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munisation</a:t>
              </a:r>
            </a:p>
          </p:txBody>
        </p:sp>
        <p:pic>
          <p:nvPicPr>
            <p:cNvPr id="44" name="object 50">
              <a:extLst>
                <a:ext uri="{FF2B5EF4-FFF2-40B4-BE49-F238E27FC236}">
                  <a16:creationId xmlns:a16="http://schemas.microsoft.com/office/drawing/2014/main" id="{9AA7DAF2-7EF9-3F80-AA2F-8A05278078F3}"/>
                </a:ext>
              </a:extLst>
            </p:cNvPr>
            <p:cNvPicPr/>
            <p:nvPr/>
          </p:nvPicPr>
          <p:blipFill rotWithShape="1">
            <a:blip r:embed="rId6" cstate="print">
              <a:alphaModFix amt="70000"/>
            </a:blip>
            <a:srcRect l="-5460" t="-20771" r="-9760" b="-14536"/>
            <a:stretch/>
          </p:blipFill>
          <p:spPr>
            <a:xfrm>
              <a:off x="11009377" y="986442"/>
              <a:ext cx="523289" cy="359079"/>
            </a:xfrm>
            <a:prstGeom prst="roundRect">
              <a:avLst/>
            </a:prstGeom>
            <a:solidFill>
              <a:schemeClr val="bg1"/>
            </a:solidFill>
          </p:spPr>
        </p:pic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EB159984-8821-92FD-65D3-B51FF62E5169}"/>
                </a:ext>
              </a:extLst>
            </p:cNvPr>
            <p:cNvGrpSpPr/>
            <p:nvPr/>
          </p:nvGrpSpPr>
          <p:grpSpPr>
            <a:xfrm>
              <a:off x="1136030" y="3402908"/>
              <a:ext cx="10543608" cy="1693763"/>
              <a:chOff x="1136030" y="3384219"/>
              <a:chExt cx="10543608" cy="1693763"/>
            </a:xfrm>
          </p:grpSpPr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BEBD4331-F92D-DC82-85A0-68B5D3B2499F}"/>
                  </a:ext>
                </a:extLst>
              </p:cNvPr>
              <p:cNvSpPr/>
              <p:nvPr/>
            </p:nvSpPr>
            <p:spPr>
              <a:xfrm rot="16200000">
                <a:off x="4215167" y="2996658"/>
                <a:ext cx="1693757" cy="2468880"/>
              </a:xfrm>
              <a:prstGeom prst="roundRect">
                <a:avLst/>
              </a:prstGeom>
              <a:solidFill>
                <a:srgbClr val="ED0C6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Rectangle: Rounded Corners 64">
                <a:extLst>
                  <a:ext uri="{FF2B5EF4-FFF2-40B4-BE49-F238E27FC236}">
                    <a16:creationId xmlns:a16="http://schemas.microsoft.com/office/drawing/2014/main" id="{AF289581-FED9-6F43-D6AF-4F6E065E7C5B}"/>
                  </a:ext>
                </a:extLst>
              </p:cNvPr>
              <p:cNvSpPr/>
              <p:nvPr/>
            </p:nvSpPr>
            <p:spPr>
              <a:xfrm rot="16200000">
                <a:off x="1523589" y="2996662"/>
                <a:ext cx="1693761" cy="2468880"/>
              </a:xfrm>
              <a:prstGeom prst="roundRect">
                <a:avLst/>
              </a:prstGeom>
              <a:solidFill>
                <a:srgbClr val="9227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27F66665-A356-165C-557B-634828BBDBEE}"/>
                  </a:ext>
                </a:extLst>
              </p:cNvPr>
              <p:cNvSpPr/>
              <p:nvPr/>
            </p:nvSpPr>
            <p:spPr>
              <a:xfrm rot="16200000">
                <a:off x="6906741" y="2996660"/>
                <a:ext cx="1693761" cy="2468880"/>
              </a:xfrm>
              <a:prstGeom prst="roundRect">
                <a:avLst/>
              </a:prstGeom>
              <a:solidFill>
                <a:srgbClr val="A6CE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Rectangle: Rounded Corners 66">
                <a:extLst>
                  <a:ext uri="{FF2B5EF4-FFF2-40B4-BE49-F238E27FC236}">
                    <a16:creationId xmlns:a16="http://schemas.microsoft.com/office/drawing/2014/main" id="{246023E8-3460-5DD9-6F96-0D3EF65120F3}"/>
                  </a:ext>
                </a:extLst>
              </p:cNvPr>
              <p:cNvSpPr/>
              <p:nvPr/>
            </p:nvSpPr>
            <p:spPr>
              <a:xfrm rot="16200000">
                <a:off x="9598317" y="2996660"/>
                <a:ext cx="1693761" cy="2468880"/>
              </a:xfrm>
              <a:prstGeom prst="roundRect">
                <a:avLst/>
              </a:prstGeom>
              <a:solidFill>
                <a:srgbClr val="F8A6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object 3">
                <a:extLst>
                  <a:ext uri="{FF2B5EF4-FFF2-40B4-BE49-F238E27FC236}">
                    <a16:creationId xmlns:a16="http://schemas.microsoft.com/office/drawing/2014/main" id="{2B4074DD-C036-B7FA-F37B-A058012D4E87}"/>
                  </a:ext>
                </a:extLst>
              </p:cNvPr>
              <p:cNvSpPr txBox="1"/>
              <p:nvPr/>
            </p:nvSpPr>
            <p:spPr>
              <a:xfrm>
                <a:off x="7050438" y="3658806"/>
                <a:ext cx="1828800" cy="1304875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MPROVE</a:t>
                </a:r>
                <a:r>
                  <a:rPr kumimoji="0" lang="en-GB" sz="1400" b="1" i="0" u="none" strike="noStrike" kern="0" cap="none" spc="-43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 PROGRAMMATIC AND FINANCIAL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USTAINABILITY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OF</a:t>
                </a:r>
                <a:r>
                  <a:rPr kumimoji="0" lang="en-GB" sz="1400" b="1" i="0" u="none" strike="noStrike" kern="0" cap="none" spc="-2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MMUNISATION PROGRAMME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9" name="object 4">
                <a:extLst>
                  <a:ext uri="{FF2B5EF4-FFF2-40B4-BE49-F238E27FC236}">
                    <a16:creationId xmlns:a16="http://schemas.microsoft.com/office/drawing/2014/main" id="{CE8062C4-7184-4609-E29C-2406E88E3308}"/>
                  </a:ext>
                </a:extLst>
              </p:cNvPr>
              <p:cNvSpPr txBox="1"/>
              <p:nvPr/>
            </p:nvSpPr>
            <p:spPr>
              <a:xfrm>
                <a:off x="9747756" y="3658806"/>
                <a:ext cx="1828800" cy="1089431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NSURE HEALTHY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ARKETS</a:t>
                </a:r>
                <a:r>
                  <a:rPr kumimoji="0" lang="en-GB" sz="1400" b="1" i="0" u="none" strike="noStrike" kern="0" cap="none" spc="-1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OR</a:t>
                </a:r>
                <a:r>
                  <a:rPr kumimoji="0" lang="en-GB" sz="1400" b="1" i="0" u="none" strike="noStrike" kern="0" cap="none" spc="-5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VACCINES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ND</a:t>
                </a:r>
                <a:r>
                  <a:rPr kumimoji="0" lang="en-GB" sz="1400" b="1" i="0" u="none" strike="noStrike" kern="0" cap="none" spc="-1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LATED</a:t>
                </a:r>
                <a:r>
                  <a:rPr kumimoji="0" lang="en-GB" sz="1400" b="1" i="0" u="none" strike="noStrike" kern="0" cap="none" spc="-1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DUCT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bject 5">
                <a:extLst>
                  <a:ext uri="{FF2B5EF4-FFF2-40B4-BE49-F238E27FC236}">
                    <a16:creationId xmlns:a16="http://schemas.microsoft.com/office/drawing/2014/main" id="{395B7F73-4483-0065-9B22-161E71D38623}"/>
                  </a:ext>
                </a:extLst>
              </p:cNvPr>
              <p:cNvSpPr txBox="1"/>
              <p:nvPr/>
            </p:nvSpPr>
            <p:spPr>
              <a:xfrm>
                <a:off x="1679779" y="3658807"/>
                <a:ext cx="1828800" cy="658544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RODUCE</a:t>
                </a:r>
                <a:r>
                  <a:rPr kumimoji="0" lang="en-GB" sz="1400" b="1" i="0" u="none" strike="noStrike" kern="0" cap="none" spc="-2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ND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SCALE</a:t>
                </a:r>
                <a:r>
                  <a:rPr kumimoji="0" lang="en-GB" sz="1400" b="1" i="0" u="none" strike="noStrike" kern="0" cap="none" spc="-33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P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-2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VACCINE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object 51">
                <a:extLst>
                  <a:ext uri="{FF2B5EF4-FFF2-40B4-BE49-F238E27FC236}">
                    <a16:creationId xmlns:a16="http://schemas.microsoft.com/office/drawing/2014/main" id="{359C552F-34CD-8023-3340-B3CD9530C028}"/>
                  </a:ext>
                </a:extLst>
              </p:cNvPr>
              <p:cNvSpPr txBox="1"/>
              <p:nvPr/>
            </p:nvSpPr>
            <p:spPr>
              <a:xfrm>
                <a:off x="1292042" y="3460615"/>
                <a:ext cx="306410" cy="935543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-48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1</a:t>
                </a: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	</a:t>
                </a:r>
              </a:p>
            </p:txBody>
          </p:sp>
          <p:sp>
            <p:nvSpPr>
              <p:cNvPr id="72" name="object 52">
                <a:extLst>
                  <a:ext uri="{FF2B5EF4-FFF2-40B4-BE49-F238E27FC236}">
                    <a16:creationId xmlns:a16="http://schemas.microsoft.com/office/drawing/2014/main" id="{01688C24-D0F3-29B1-8BEA-6722C65B26CE}"/>
                  </a:ext>
                </a:extLst>
              </p:cNvPr>
              <p:cNvSpPr txBox="1"/>
              <p:nvPr/>
            </p:nvSpPr>
            <p:spPr>
              <a:xfrm>
                <a:off x="6688668" y="3460615"/>
                <a:ext cx="268233" cy="935543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-48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3</a:t>
                </a: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	</a:t>
                </a:r>
              </a:p>
            </p:txBody>
          </p:sp>
          <p:sp>
            <p:nvSpPr>
              <p:cNvPr id="73" name="object 52">
                <a:extLst>
                  <a:ext uri="{FF2B5EF4-FFF2-40B4-BE49-F238E27FC236}">
                    <a16:creationId xmlns:a16="http://schemas.microsoft.com/office/drawing/2014/main" id="{A87C0193-51BA-3707-28E3-D23133A32841}"/>
                  </a:ext>
                </a:extLst>
              </p:cNvPr>
              <p:cNvSpPr txBox="1"/>
              <p:nvPr/>
            </p:nvSpPr>
            <p:spPr>
              <a:xfrm>
                <a:off x="9378700" y="3460615"/>
                <a:ext cx="268233" cy="935543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-48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4 </a:t>
                </a: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	</a:t>
                </a:r>
              </a:p>
            </p:txBody>
          </p:sp>
          <p:sp>
            <p:nvSpPr>
              <p:cNvPr id="74" name="object 2">
                <a:extLst>
                  <a:ext uri="{FF2B5EF4-FFF2-40B4-BE49-F238E27FC236}">
                    <a16:creationId xmlns:a16="http://schemas.microsoft.com/office/drawing/2014/main" id="{5EC19B66-1A74-CF68-2D21-6CE3919C1808}"/>
                  </a:ext>
                </a:extLst>
              </p:cNvPr>
              <p:cNvSpPr txBox="1"/>
              <p:nvPr/>
            </p:nvSpPr>
            <p:spPr>
              <a:xfrm>
                <a:off x="4376002" y="3658806"/>
                <a:ext cx="1828800" cy="1089431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TRENGTHEN</a:t>
                </a:r>
                <a:r>
                  <a:rPr kumimoji="0" lang="en-GB" sz="1400" b="1" i="0" u="none" strike="noStrike" kern="0" cap="none" spc="38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HEALTH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YSTEMS</a:t>
                </a:r>
                <a:r>
                  <a:rPr kumimoji="0" lang="en-GB" sz="1400" b="1" i="0" u="none" strike="noStrike" kern="0" cap="none" spc="-38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O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CREASE EQUITY</a:t>
                </a:r>
                <a:r>
                  <a:rPr kumimoji="0" lang="en-GB" sz="1400" b="1" i="0" u="none" strike="noStrike" kern="0" cap="none" spc="-2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IMMUNISATION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5" name="object 51">
                <a:extLst>
                  <a:ext uri="{FF2B5EF4-FFF2-40B4-BE49-F238E27FC236}">
                    <a16:creationId xmlns:a16="http://schemas.microsoft.com/office/drawing/2014/main" id="{C84720FB-54CB-87C9-5E1F-B7EB6B04D665}"/>
                  </a:ext>
                </a:extLst>
              </p:cNvPr>
              <p:cNvSpPr txBox="1"/>
              <p:nvPr/>
            </p:nvSpPr>
            <p:spPr>
              <a:xfrm>
                <a:off x="4012082" y="3460615"/>
                <a:ext cx="226766" cy="935543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-48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2</a:t>
                </a: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	</a:t>
                </a: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67CB9ED2-54B3-55FC-26FB-F95F86F93C0F}"/>
                </a:ext>
              </a:extLst>
            </p:cNvPr>
            <p:cNvGrpSpPr/>
            <p:nvPr/>
          </p:nvGrpSpPr>
          <p:grpSpPr>
            <a:xfrm>
              <a:off x="1136026" y="5175122"/>
              <a:ext cx="10654754" cy="928987"/>
              <a:chOff x="1136025" y="5222748"/>
              <a:chExt cx="10654754" cy="854202"/>
            </a:xfrm>
          </p:grpSpPr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EBCB8C7C-07F5-3295-F48E-81F7E9B9BC42}"/>
                  </a:ext>
                </a:extLst>
              </p:cNvPr>
              <p:cNvSpPr/>
              <p:nvPr/>
            </p:nvSpPr>
            <p:spPr>
              <a:xfrm rot="16200000">
                <a:off x="5980731" y="378042"/>
                <a:ext cx="854202" cy="10543614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object 13">
                <a:extLst>
                  <a:ext uri="{FF2B5EF4-FFF2-40B4-BE49-F238E27FC236}">
                    <a16:creationId xmlns:a16="http://schemas.microsoft.com/office/drawing/2014/main" id="{C05FF35C-2E8C-8B6F-D180-A0131893D5F8}"/>
                  </a:ext>
                </a:extLst>
              </p:cNvPr>
              <p:cNvSpPr txBox="1"/>
              <p:nvPr/>
            </p:nvSpPr>
            <p:spPr>
              <a:xfrm>
                <a:off x="1355103" y="5315834"/>
                <a:ext cx="5160457" cy="616051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Long-term predictable funding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ne Alliance</a:t>
                </a: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lobal political commitment</a:t>
                </a:r>
              </a:p>
            </p:txBody>
          </p:sp>
          <p:sp>
            <p:nvSpPr>
              <p:cNvPr id="63" name="object 14">
                <a:extLst>
                  <a:ext uri="{FF2B5EF4-FFF2-40B4-BE49-F238E27FC236}">
                    <a16:creationId xmlns:a16="http://schemas.microsoft.com/office/drawing/2014/main" id="{0732AC3B-D908-D4D7-74CF-A8E02329AAF4}"/>
                  </a:ext>
                </a:extLst>
              </p:cNvPr>
              <p:cNvSpPr txBox="1"/>
              <p:nvPr/>
            </p:nvSpPr>
            <p:spPr>
              <a:xfrm>
                <a:off x="6630322" y="5304067"/>
                <a:ext cx="5160457" cy="616051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imple, efficient and agile Gavi operating model</a:t>
                </a:r>
                <a:endParaRPr kumimoji="0" lang="en-GB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gitalisation, improved data and evidence</a:t>
                </a:r>
                <a:endParaRPr kumimoji="0" lang="en-GB" sz="1100" b="0" i="0" u="none" strike="noStrike" kern="0" cap="none" spc="-1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US" sz="1100" b="0" i="0" u="none" strike="noStrike" kern="0" cap="none" spc="-1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laboration with private sector and development finance institutions</a:t>
                </a: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4EFFC8C0-704C-0063-8D3E-FD0AD8E985C7}"/>
                </a:ext>
              </a:extLst>
            </p:cNvPr>
            <p:cNvGrpSpPr/>
            <p:nvPr/>
          </p:nvGrpSpPr>
          <p:grpSpPr>
            <a:xfrm>
              <a:off x="1136026" y="2296829"/>
              <a:ext cx="10543612" cy="1027623"/>
              <a:chOff x="1136028" y="2266949"/>
              <a:chExt cx="10543612" cy="1027623"/>
            </a:xfrm>
          </p:grpSpPr>
          <p:sp>
            <p:nvSpPr>
              <p:cNvPr id="56" name="object 21">
                <a:extLst>
                  <a:ext uri="{FF2B5EF4-FFF2-40B4-BE49-F238E27FC236}">
                    <a16:creationId xmlns:a16="http://schemas.microsoft.com/office/drawing/2014/main" id="{83EE90FF-440D-1E9F-5E5E-B52E3118257B}"/>
                  </a:ext>
                </a:extLst>
              </p:cNvPr>
              <p:cNvSpPr txBox="1"/>
              <p:nvPr/>
            </p:nvSpPr>
            <p:spPr>
              <a:xfrm>
                <a:off x="2195762" y="2797519"/>
                <a:ext cx="731762" cy="144109"/>
              </a:xfrm>
              <a:prstGeom prst="rect">
                <a:avLst/>
              </a:prstGeom>
            </p:spPr>
            <p:txBody>
              <a:bodyPr vert="horz" wrap="square" lIns="0" tIns="12095" rIns="0" bIns="0" rtlCol="0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57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Frutiger LT Std"/>
                  <a:ea typeface="+mn-ea"/>
                  <a:cs typeface="Frutiger LT Std"/>
                </a:endParaRPr>
              </a:p>
            </p:txBody>
          </p:sp>
          <p:sp>
            <p:nvSpPr>
              <p:cNvPr id="57" name="Rectangle: Rounded Corners 56">
                <a:extLst>
                  <a:ext uri="{FF2B5EF4-FFF2-40B4-BE49-F238E27FC236}">
                    <a16:creationId xmlns:a16="http://schemas.microsoft.com/office/drawing/2014/main" id="{61520D8B-A98A-E180-9A6A-A5AA74DFCA3B}"/>
                  </a:ext>
                </a:extLst>
              </p:cNvPr>
              <p:cNvSpPr/>
              <p:nvPr/>
            </p:nvSpPr>
            <p:spPr>
              <a:xfrm rot="16200000">
                <a:off x="5894022" y="-2491045"/>
                <a:ext cx="1027623" cy="10543612"/>
              </a:xfrm>
              <a:prstGeom prst="roundRect">
                <a:avLst/>
              </a:prstGeom>
              <a:solidFill>
                <a:srgbClr val="C6E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object 13">
                <a:extLst>
                  <a:ext uri="{FF2B5EF4-FFF2-40B4-BE49-F238E27FC236}">
                    <a16:creationId xmlns:a16="http://schemas.microsoft.com/office/drawing/2014/main" id="{135DEC06-E787-3BEA-B479-BB9469CACE4C}"/>
                  </a:ext>
                </a:extLst>
              </p:cNvPr>
              <p:cNvSpPr txBox="1"/>
              <p:nvPr/>
            </p:nvSpPr>
            <p:spPr>
              <a:xfrm>
                <a:off x="1314579" y="2330901"/>
                <a:ext cx="3383280" cy="894662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untry-led, sustainable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munity-owned, inclusive 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Zero-dose and missed communities, first priority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nder-focused</a:t>
                </a:r>
              </a:p>
            </p:txBody>
          </p:sp>
          <p:sp>
            <p:nvSpPr>
              <p:cNvPr id="59" name="object 14">
                <a:extLst>
                  <a:ext uri="{FF2B5EF4-FFF2-40B4-BE49-F238E27FC236}">
                    <a16:creationId xmlns:a16="http://schemas.microsoft.com/office/drawing/2014/main" id="{F9AAFFDD-D8CB-EDB7-8952-06F100EA61FC}"/>
                  </a:ext>
                </a:extLst>
              </p:cNvPr>
              <p:cNvSpPr txBox="1"/>
              <p:nvPr/>
            </p:nvSpPr>
            <p:spPr>
              <a:xfrm>
                <a:off x="4823570" y="2330901"/>
                <a:ext cx="3383280" cy="669986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fferentiated, fragile-responsive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egrated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daptive, resilient</a:t>
                </a:r>
              </a:p>
            </p:txBody>
          </p:sp>
          <p:sp>
            <p:nvSpPr>
              <p:cNvPr id="60" name="object 14">
                <a:extLst>
                  <a:ext uri="{FF2B5EF4-FFF2-40B4-BE49-F238E27FC236}">
                    <a16:creationId xmlns:a16="http://schemas.microsoft.com/office/drawing/2014/main" id="{0ACCF4BC-452C-F32A-A222-A4560F3E8515}"/>
                  </a:ext>
                </a:extLst>
              </p:cNvPr>
              <p:cNvSpPr txBox="1"/>
              <p:nvPr/>
            </p:nvSpPr>
            <p:spPr>
              <a:xfrm>
                <a:off x="8237311" y="2330901"/>
                <a:ext cx="3383280" cy="866513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limate-sensitive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novative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laborative, accountable</a:t>
                </a: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1491" marR="51406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97369" algn="l"/>
                  </a:tabLst>
                  <a:defRPr/>
                </a:pPr>
                <a:endParaRPr kumimoji="0" lang="en-GB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6DC4250F-CF8E-00D1-215C-E3B622A2CD67}"/>
                </a:ext>
              </a:extLst>
            </p:cNvPr>
            <p:cNvSpPr/>
            <p:nvPr/>
          </p:nvSpPr>
          <p:spPr>
            <a:xfrm rot="16200000">
              <a:off x="274904" y="2635367"/>
              <a:ext cx="1027625" cy="350548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INCIPLES</a:t>
              </a: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0EDE162B-E661-7ED7-2535-8B7CBD2D3963}"/>
                </a:ext>
              </a:extLst>
            </p:cNvPr>
            <p:cNvSpPr/>
            <p:nvPr/>
          </p:nvSpPr>
          <p:spPr>
            <a:xfrm rot="16200000">
              <a:off x="-58162" y="4074513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OALS</a:t>
              </a: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BE829A47-AF86-B6EF-D235-7B844F8BDCD4}"/>
                </a:ext>
              </a:extLst>
            </p:cNvPr>
            <p:cNvSpPr/>
            <p:nvPr/>
          </p:nvSpPr>
          <p:spPr>
            <a:xfrm rot="16200000">
              <a:off x="324223" y="5464342"/>
              <a:ext cx="928987" cy="3505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ABLERS</a:t>
              </a: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A6A4F2FE-986F-185E-D690-E6878E64CBA5}"/>
                </a:ext>
              </a:extLst>
            </p:cNvPr>
            <p:cNvSpPr/>
            <p:nvPr/>
          </p:nvSpPr>
          <p:spPr>
            <a:xfrm rot="16200000">
              <a:off x="466864" y="1721247"/>
              <a:ext cx="643705" cy="3505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ISSION</a:t>
              </a: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1C230BD1-B88A-3006-287E-CDE3A6DCB6D9}"/>
                </a:ext>
              </a:extLst>
            </p:cNvPr>
            <p:cNvSpPr/>
            <p:nvPr/>
          </p:nvSpPr>
          <p:spPr>
            <a:xfrm rot="16200000">
              <a:off x="-53484" y="4086870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OALS</a:t>
              </a: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666CFFFC-E7A4-6491-61B4-D5C757C1EC41}"/>
                </a:ext>
              </a:extLst>
            </p:cNvPr>
            <p:cNvSpPr/>
            <p:nvPr/>
          </p:nvSpPr>
          <p:spPr>
            <a:xfrm rot="16200000">
              <a:off x="455363" y="998117"/>
              <a:ext cx="643705" cy="35054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ISION</a:t>
              </a:r>
            </a:p>
          </p:txBody>
        </p: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CCD49144-E1F3-8459-48EA-025EEBFB8E3B}"/>
                </a:ext>
              </a:extLst>
            </p:cNvPr>
            <p:cNvSpPr/>
            <p:nvPr/>
          </p:nvSpPr>
          <p:spPr>
            <a:xfrm>
              <a:off x="1136024" y="1571085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-4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o</a:t>
              </a:r>
              <a:r>
                <a:rPr kumimoji="0" lang="en-GB" sz="1400" b="0" i="0" u="none" strike="noStrike" kern="1200" cap="none" spc="-2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ve</a:t>
              </a:r>
              <a:r>
                <a:rPr kumimoji="0" lang="en-GB" sz="1400" b="1" i="0" u="none" strike="noStrike" kern="1200" cap="none" spc="-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ives</a:t>
              </a:r>
              <a:r>
                <a:rPr kumimoji="0" lang="en-GB" sz="1400" b="1" i="0" u="none" strike="noStrike" kern="1200" cap="none" spc="-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d</a:t>
              </a:r>
              <a:r>
                <a:rPr kumimoji="0" lang="en-GB" sz="1400" b="0" i="0" u="none" strike="noStrike" kern="1200" cap="none" spc="-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tect</a:t>
              </a:r>
              <a:r>
                <a:rPr kumimoji="0" lang="en-GB" sz="1400" b="1" i="0" u="none" strike="noStrike" kern="1200" cap="none" spc="-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eople’s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ealth</a:t>
              </a:r>
              <a:r>
                <a:rPr kumimoji="0" lang="en-GB" sz="1400" b="1" i="0" u="none" strike="noStrike" kern="1200" cap="none" spc="-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y</a:t>
              </a:r>
              <a:r>
                <a:rPr kumimoji="0" lang="en-GB" sz="1400" b="0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creasing</a:t>
              </a:r>
              <a:r>
                <a:rPr kumimoji="0" lang="en-GB" sz="1400" b="0" i="0" u="none" strike="noStrike" kern="1200" cap="none" spc="-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quitable</a:t>
              </a:r>
              <a:r>
                <a:rPr kumimoji="0" lang="en-GB" sz="1400" b="1" i="0" u="none" strike="noStrike" kern="1200" cap="none" spc="-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400" b="1" i="0" u="none" strike="noStrike" kern="1200" cap="none" spc="-2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d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stainable use of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cines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F02CDCBE-D67C-782D-1B1F-74C9081DC771}"/>
                </a:ext>
              </a:extLst>
            </p:cNvPr>
            <p:cNvSpPr/>
            <p:nvPr/>
          </p:nvSpPr>
          <p:spPr>
            <a:xfrm rot="16200000">
              <a:off x="-53484" y="4086870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OA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47716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4E61E12-84BA-889E-1B27-8848063268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4E61E12-84BA-889E-1B27-884806326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DA9FA0-EB8C-6343-C00B-9F31AED37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76" y="205600"/>
            <a:ext cx="11439054" cy="592778"/>
          </a:xfrm>
        </p:spPr>
        <p:txBody>
          <a:bodyPr vert="horz">
            <a:noAutofit/>
          </a:bodyPr>
          <a:lstStyle/>
          <a:p>
            <a:r>
              <a:rPr lang="en-US" sz="3200"/>
              <a:t>New Health Systems Strategy defines five key shifts aligned with the Gavi Leap </a:t>
            </a:r>
          </a:p>
        </p:txBody>
      </p:sp>
      <p:pic>
        <p:nvPicPr>
          <p:cNvPr id="3" name="Graphic 2" descr="Handshake with solid fill">
            <a:extLst>
              <a:ext uri="{FF2B5EF4-FFF2-40B4-BE49-F238E27FC236}">
                <a16:creationId xmlns:a16="http://schemas.microsoft.com/office/drawing/2014/main" id="{E70BE356-8D85-B9D7-6647-E59B48180DC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7135" y="4422616"/>
            <a:ext cx="665018" cy="665018"/>
          </a:xfrm>
          <a:prstGeom prst="rect">
            <a:avLst/>
          </a:prstGeom>
        </p:spPr>
      </p:pic>
      <p:pic>
        <p:nvPicPr>
          <p:cNvPr id="5" name="Graphic 4" descr="Signpost with solid fill">
            <a:extLst>
              <a:ext uri="{FF2B5EF4-FFF2-40B4-BE49-F238E27FC236}">
                <a16:creationId xmlns:a16="http://schemas.microsoft.com/office/drawing/2014/main" id="{5C5E243B-A4A0-5863-49D0-B6EF2131D23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4030" y="2676903"/>
            <a:ext cx="604562" cy="604562"/>
          </a:xfrm>
          <a:prstGeom prst="rect">
            <a:avLst/>
          </a:prstGeom>
        </p:spPr>
      </p:pic>
      <p:pic>
        <p:nvPicPr>
          <p:cNvPr id="7" name="Graphic 6" descr="Gears with solid fill">
            <a:extLst>
              <a:ext uri="{FF2B5EF4-FFF2-40B4-BE49-F238E27FC236}">
                <a16:creationId xmlns:a16="http://schemas.microsoft.com/office/drawing/2014/main" id="{CFEAA3B0-E89E-206F-DB2C-BF06F684B7B0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74030" y="1759843"/>
            <a:ext cx="604562" cy="604562"/>
          </a:xfrm>
          <a:prstGeom prst="rect">
            <a:avLst/>
          </a:prstGeom>
        </p:spPr>
      </p:pic>
      <p:pic>
        <p:nvPicPr>
          <p:cNvPr id="8" name="Graphic 7" descr="Ruler with solid fill">
            <a:extLst>
              <a:ext uri="{FF2B5EF4-FFF2-40B4-BE49-F238E27FC236}">
                <a16:creationId xmlns:a16="http://schemas.microsoft.com/office/drawing/2014/main" id="{FAD6E78B-83A0-D07E-3B00-62F176CA525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74030" y="5400133"/>
            <a:ext cx="604562" cy="604562"/>
          </a:xfrm>
          <a:prstGeom prst="rect">
            <a:avLst/>
          </a:prstGeom>
        </p:spPr>
      </p:pic>
      <p:pic>
        <p:nvPicPr>
          <p:cNvPr id="9" name="Graphic 8" descr="Qr Code with solid fill">
            <a:extLst>
              <a:ext uri="{FF2B5EF4-FFF2-40B4-BE49-F238E27FC236}">
                <a16:creationId xmlns:a16="http://schemas.microsoft.com/office/drawing/2014/main" id="{E030EE16-E679-A9A0-69B6-6FC3EF78AB96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74030" y="3593963"/>
            <a:ext cx="516155" cy="516155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4B63E00-D481-0E72-E614-3850D83CDAC3}"/>
              </a:ext>
            </a:extLst>
          </p:cNvPr>
          <p:cNvGraphicFramePr>
            <a:graphicFrameLocks noGrp="1"/>
          </p:cNvGraphicFramePr>
          <p:nvPr/>
        </p:nvGraphicFramePr>
        <p:xfrm>
          <a:off x="1145755" y="1206312"/>
          <a:ext cx="10572215" cy="493772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14540">
                  <a:extLst>
                    <a:ext uri="{9D8B030D-6E8A-4147-A177-3AD203B41FA5}">
                      <a16:colId xmlns:a16="http://schemas.microsoft.com/office/drawing/2014/main" val="2744884354"/>
                    </a:ext>
                  </a:extLst>
                </a:gridCol>
                <a:gridCol w="8557675">
                  <a:extLst>
                    <a:ext uri="{9D8B030D-6E8A-4147-A177-3AD203B41FA5}">
                      <a16:colId xmlns:a16="http://schemas.microsoft.com/office/drawing/2014/main" val="3030927402"/>
                    </a:ext>
                  </a:extLst>
                </a:gridCol>
              </a:tblGrid>
              <a:tr h="318472">
                <a:tc>
                  <a:txBody>
                    <a:bodyPr/>
                    <a:lstStyle/>
                    <a:p>
                      <a:r>
                        <a:rPr lang="en-US" sz="200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f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/>
                      <a:r>
                        <a:rPr lang="en-US" sz="200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0828723"/>
                  </a:ext>
                </a:extLst>
              </a:tr>
              <a:tr h="906771">
                <a:tc>
                  <a:txBody>
                    <a:bodyPr/>
                    <a:lstStyle/>
                    <a:p>
                      <a:r>
                        <a:rPr lang="en-US" sz="18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erentiated approach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latin typeface="Arial"/>
                          <a:cs typeface="Arial"/>
                        </a:rPr>
                        <a:t>Differentiated investments </a:t>
                      </a:r>
                      <a:r>
                        <a:rPr lang="en-US" sz="1800">
                          <a:latin typeface="Arial"/>
                          <a:cs typeface="Arial"/>
                        </a:rPr>
                        <a:t>to drive programmatic sustainability</a:t>
                      </a:r>
                      <a:endParaRPr lang="en-US" sz="1800" b="0">
                        <a:latin typeface="Arial"/>
                        <a:cs typeface="Arial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5560441"/>
                  </a:ext>
                </a:extLst>
              </a:tr>
              <a:tr h="906771">
                <a:tc>
                  <a:txBody>
                    <a:bodyPr/>
                    <a:lstStyle/>
                    <a:p>
                      <a:r>
                        <a:rPr lang="en-US" sz="18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olidated planning &amp; funding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effectLst/>
                          <a:latin typeface="Arial"/>
                          <a:cs typeface="Arial"/>
                        </a:rPr>
                        <a:t>Consolidation of HS programming </a:t>
                      </a:r>
                      <a:r>
                        <a:rPr lang="en-US" sz="1800" b="0">
                          <a:effectLst/>
                          <a:latin typeface="Arial"/>
                          <a:cs typeface="Arial"/>
                        </a:rPr>
                        <a:t>across immunisation delivery activities, including vaccination campaigns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7253551"/>
                  </a:ext>
                </a:extLst>
              </a:tr>
              <a:tr h="906771">
                <a:tc>
                  <a:txBody>
                    <a:bodyPr/>
                    <a:lstStyle/>
                    <a:p>
                      <a:r>
                        <a:rPr lang="en-US" sz="18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alysing innovation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>
                          <a:effectLst/>
                          <a:latin typeface="Arial"/>
                          <a:cs typeface="Arial"/>
                        </a:rPr>
                        <a:t>More deliberate</a:t>
                      </a:r>
                      <a:r>
                        <a:rPr lang="en-US" sz="1800" b="1">
                          <a:effectLst/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0">
                          <a:effectLst/>
                          <a:latin typeface="Arial"/>
                          <a:cs typeface="Arial"/>
                        </a:rPr>
                        <a:t>approach to </a:t>
                      </a:r>
                      <a:r>
                        <a:rPr lang="en-US" sz="1800" b="1">
                          <a:effectLst/>
                          <a:latin typeface="Arial"/>
                          <a:cs typeface="Arial"/>
                        </a:rPr>
                        <a:t>catalyse innovation at country level</a:t>
                      </a:r>
                      <a:r>
                        <a:rPr lang="en-US" sz="1800" b="0">
                          <a:effectLst/>
                          <a:latin typeface="Arial"/>
                          <a:cs typeface="Arial"/>
                        </a:rPr>
                        <a:t>; focus on addressing persistent challenges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897970"/>
                  </a:ext>
                </a:extLst>
              </a:tr>
              <a:tr h="906771">
                <a:tc>
                  <a:txBody>
                    <a:bodyPr/>
                    <a:lstStyle/>
                    <a:p>
                      <a:r>
                        <a:rPr lang="en-US" sz="18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ngthened partnership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hanced partnerships to </a:t>
                      </a:r>
                      <a:r>
                        <a:rPr lang="en-US" sz="1800" b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able primary health care (PHC) approach </a:t>
                      </a:r>
                      <a:r>
                        <a:rPr lang="en-US" sz="180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line with Lusaka Agenda</a:t>
                      </a:r>
                      <a:endParaRPr lang="en-US" sz="18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264673"/>
                  </a:ext>
                </a:extLst>
              </a:tr>
              <a:tr h="906771">
                <a:tc>
                  <a:txBody>
                    <a:bodyPr/>
                    <a:lstStyle/>
                    <a:p>
                      <a:r>
                        <a:rPr lang="en-US" sz="18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ntional measurement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effectLst/>
                          <a:latin typeface="Arial"/>
                          <a:cs typeface="Arial"/>
                        </a:rPr>
                        <a:t>Strengthened monitoring and measurement of HS programming, </a:t>
                      </a:r>
                      <a:r>
                        <a:rPr lang="en-US" sz="1800" err="1">
                          <a:effectLst/>
                          <a:latin typeface="Arial"/>
                          <a:cs typeface="Arial"/>
                        </a:rPr>
                        <a:t>prioritising</a:t>
                      </a:r>
                      <a:r>
                        <a:rPr lang="en-US" sz="1800">
                          <a:effectLst/>
                          <a:latin typeface="Arial"/>
                          <a:cs typeface="Arial"/>
                        </a:rPr>
                        <a:t> country needs and enhancing peer-to-peer learning</a:t>
                      </a:r>
                      <a:endParaRPr lang="en-US" sz="1800">
                        <a:latin typeface="Arial"/>
                        <a:cs typeface="Arial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5255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812882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12C7FE-C3E4-2C04-F121-F4FA4EBD74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4CD5AC02-DA4A-D2B0-2839-FD2F5F1C83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D5AC02-DA4A-D2B0-2839-FD2F5F1C83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89668D-C6F6-97AD-E8ED-0246D98E6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8" y="368300"/>
            <a:ext cx="11517881" cy="592778"/>
          </a:xfrm>
        </p:spPr>
        <p:txBody>
          <a:bodyPr vert="horz">
            <a:normAutofit fontScale="90000"/>
          </a:bodyPr>
          <a:lstStyle/>
          <a:p>
            <a:r>
              <a:rPr lang="en-US"/>
              <a:t>Moving towards a consolidated and aligned Gavi funding architecture makes it easier for countries to work with Gav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0FCFB5-C434-20D8-8901-E24887EE6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8BA6204-8CDD-FE15-B551-85B6044AE86E}"/>
              </a:ext>
            </a:extLst>
          </p:cNvPr>
          <p:cNvSpPr/>
          <p:nvPr/>
        </p:nvSpPr>
        <p:spPr>
          <a:xfrm>
            <a:off x="515937" y="1845587"/>
            <a:ext cx="5122094" cy="1901708"/>
          </a:xfrm>
          <a:prstGeom prst="rect">
            <a:avLst/>
          </a:prstGeom>
          <a:solidFill>
            <a:srgbClr val="E7F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`</a:t>
            </a:r>
          </a:p>
        </p:txBody>
      </p:sp>
      <p:sp>
        <p:nvSpPr>
          <p:cNvPr id="10" name="Plus Sign 9">
            <a:extLst>
              <a:ext uri="{FF2B5EF4-FFF2-40B4-BE49-F238E27FC236}">
                <a16:creationId xmlns:a16="http://schemas.microsoft.com/office/drawing/2014/main" id="{3698037E-831B-BE59-8ED3-54F42AB0AD73}"/>
              </a:ext>
            </a:extLst>
          </p:cNvPr>
          <p:cNvSpPr/>
          <p:nvPr/>
        </p:nvSpPr>
        <p:spPr>
          <a:xfrm>
            <a:off x="5759859" y="2670446"/>
            <a:ext cx="686326" cy="631219"/>
          </a:xfrm>
          <a:prstGeom prst="mathPlus">
            <a:avLst/>
          </a:prstGeom>
          <a:solidFill>
            <a:srgbClr val="55BB8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06D834-80F2-7D5A-25D0-2C23DE266DB0}"/>
              </a:ext>
            </a:extLst>
          </p:cNvPr>
          <p:cNvSpPr/>
          <p:nvPr/>
        </p:nvSpPr>
        <p:spPr>
          <a:xfrm>
            <a:off x="6667135" y="1845586"/>
            <a:ext cx="5122094" cy="1901708"/>
          </a:xfrm>
          <a:prstGeom prst="rect">
            <a:avLst/>
          </a:prstGeom>
          <a:solidFill>
            <a:srgbClr val="E7F3FF"/>
          </a:solidFill>
          <a:ln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57A5BD-9DA9-864B-FF61-4F30C79AA9DD}"/>
              </a:ext>
            </a:extLst>
          </p:cNvPr>
          <p:cNvSpPr txBox="1">
            <a:spLocks/>
          </p:cNvSpPr>
          <p:nvPr/>
        </p:nvSpPr>
        <p:spPr>
          <a:xfrm>
            <a:off x="701191" y="2077450"/>
            <a:ext cx="4030278" cy="12003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ngle cash grant through holistic application for Gavi Suppor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700" b="1" i="0" u="none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IS route or non-NIS route</a:t>
            </a:r>
            <a:endParaRPr kumimoji="0" lang="en-GB" sz="1700" b="1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C69FE2E-455C-F607-A910-8ED528DDF5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4617" y="2559793"/>
            <a:ext cx="446078" cy="47124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49368FB-6E63-562E-6EBC-8ECDE9456CFE}"/>
              </a:ext>
            </a:extLst>
          </p:cNvPr>
          <p:cNvSpPr txBox="1">
            <a:spLocks/>
          </p:cNvSpPr>
          <p:nvPr/>
        </p:nvSpPr>
        <p:spPr>
          <a:xfrm>
            <a:off x="6946506" y="2038969"/>
            <a:ext cx="3795576" cy="146193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xed country grant cycl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700" b="1" i="0" u="none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untries can choose a grant cycle with first disbursement within a flexible two-year window</a:t>
            </a:r>
            <a:endParaRPr kumimoji="0" lang="en-GB" sz="1700" b="1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7" name="Picture 16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55985D4-D87A-DA5B-7539-9F00B88C49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5230" y="2775857"/>
            <a:ext cx="581187" cy="54667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C0A387E-7389-287F-8389-7A9B3C29C22A}"/>
              </a:ext>
            </a:extLst>
          </p:cNvPr>
          <p:cNvSpPr txBox="1">
            <a:spLocks/>
          </p:cNvSpPr>
          <p:nvPr/>
        </p:nvSpPr>
        <p:spPr>
          <a:xfrm>
            <a:off x="6667134" y="4380781"/>
            <a:ext cx="5122094" cy="1628136"/>
          </a:xfrm>
          <a:prstGeom prst="rect">
            <a:avLst/>
          </a:prstGeom>
          <a:solidFill>
            <a:srgbClr val="ECF8F2"/>
          </a:solidFill>
        </p:spPr>
        <p:txBody>
          <a:bodyPr vert="horz" wrap="square" lIns="182880" tIns="45720" rIns="548640" bIns="91440" rtlCol="0" anchor="t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the following benefits to countrie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uced transaction time spent on grant process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re timely embedding of Gavi strategic shifts into grants</a:t>
            </a:r>
          </a:p>
        </p:txBody>
      </p:sp>
      <p:pic>
        <p:nvPicPr>
          <p:cNvPr id="19" name="Picture 1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CDD5290-241A-001E-67EB-B5A161BED4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1632" y="4815978"/>
            <a:ext cx="562206" cy="56350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1A307C4-0EBC-4D85-9882-CCEDCC9C97AF}"/>
              </a:ext>
            </a:extLst>
          </p:cNvPr>
          <p:cNvSpPr txBox="1">
            <a:spLocks/>
          </p:cNvSpPr>
          <p:nvPr/>
        </p:nvSpPr>
        <p:spPr>
          <a:xfrm>
            <a:off x="515938" y="4380782"/>
            <a:ext cx="5122094" cy="1628137"/>
          </a:xfrm>
          <a:prstGeom prst="rect">
            <a:avLst/>
          </a:prstGeom>
          <a:solidFill>
            <a:srgbClr val="FEEDE8"/>
          </a:solidFill>
        </p:spPr>
        <p:txBody>
          <a:bodyPr vert="horz" wrap="square" lIns="182880" tIns="45720" rIns="822960" bIns="182880" rtlCol="0" anchor="t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dressing current challenge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untries juggle processing efforts of multiple simultaneous grant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ent system that fosters disjointed programming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01BAACD-14AB-9E2C-9AA2-FD85464DCCAA}"/>
              </a:ext>
            </a:extLst>
          </p:cNvPr>
          <p:cNvCxnSpPr/>
          <p:nvPr/>
        </p:nvCxnSpPr>
        <p:spPr>
          <a:xfrm>
            <a:off x="515937" y="4024125"/>
            <a:ext cx="112732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0DA03BE-8E1F-2796-6BB0-62196D8AEF85}"/>
              </a:ext>
            </a:extLst>
          </p:cNvPr>
          <p:cNvSpPr/>
          <p:nvPr/>
        </p:nvSpPr>
        <p:spPr>
          <a:xfrm>
            <a:off x="2404423" y="3847213"/>
            <a:ext cx="7837761" cy="34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haping how countries engage with Gavi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D205C3E-EAD0-61F2-3F62-321E52594426}"/>
              </a:ext>
            </a:extLst>
          </p:cNvPr>
          <p:cNvCxnSpPr/>
          <p:nvPr/>
        </p:nvCxnSpPr>
        <p:spPr>
          <a:xfrm>
            <a:off x="515937" y="1565606"/>
            <a:ext cx="112732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55B539EA-B46E-AE6C-AE97-D60A8A2D98F6}"/>
              </a:ext>
            </a:extLst>
          </p:cNvPr>
          <p:cNvSpPr/>
          <p:nvPr/>
        </p:nvSpPr>
        <p:spPr>
          <a:xfrm>
            <a:off x="2404423" y="1388694"/>
            <a:ext cx="7837761" cy="3400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ted and aligned Gavi funding architecture</a:t>
            </a:r>
          </a:p>
        </p:txBody>
      </p:sp>
      <p:pic>
        <p:nvPicPr>
          <p:cNvPr id="26" name="Picture 2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69210F-9E48-9712-BB6B-0C2B4FC918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5620" y="4638182"/>
            <a:ext cx="525075" cy="52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9681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3D4AAA-4A37-659B-1668-71937CBA19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C4857B73-BE66-B2C0-3D56-8651CB2151B4}"/>
              </a:ext>
            </a:extLst>
          </p:cNvPr>
          <p:cNvCxnSpPr>
            <a:cxnSpLocks/>
          </p:cNvCxnSpPr>
          <p:nvPr/>
        </p:nvCxnSpPr>
        <p:spPr>
          <a:xfrm>
            <a:off x="6432870" y="2583294"/>
            <a:ext cx="868588" cy="0"/>
          </a:xfrm>
          <a:prstGeom prst="straightConnector1">
            <a:avLst/>
          </a:prstGeom>
          <a:ln>
            <a:solidFill>
              <a:srgbClr val="75757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8BC4068-4D04-931A-05DA-F5839D99B7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84" imgH="486" progId="TCLayout.ActiveDocument.1">
                  <p:embed/>
                </p:oleObj>
              </mc:Choice>
              <mc:Fallback>
                <p:oleObj name="think-cell Slide" r:id="rId6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BC4068-4D04-931A-05DA-F5839D99B7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E80CCE6-7AB1-EF42-1796-584E4129C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7559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>
            <a:spAutoFit/>
          </a:bodyPr>
          <a:lstStyle/>
          <a:p>
            <a:r>
              <a:rPr lang="en-GB" sz="2800">
                <a:latin typeface="Arial"/>
                <a:cs typeface="Arial"/>
              </a:rPr>
              <a:t>From 2026, countries will apply for support through one holistic five-year plan </a:t>
            </a:r>
            <a:endParaRPr lang="en-US" sz="280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97891506-39CA-AC67-21B7-2F3976964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3FD7ECC-3189-BF45-6363-34DCEEEA9BCB}"/>
              </a:ext>
            </a:extLst>
          </p:cNvPr>
          <p:cNvGrpSpPr/>
          <p:nvPr/>
        </p:nvGrpSpPr>
        <p:grpSpPr>
          <a:xfrm>
            <a:off x="9331207" y="978464"/>
            <a:ext cx="691835" cy="193002"/>
            <a:chOff x="9019150" y="818286"/>
            <a:chExt cx="691835" cy="193002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5C6C13C-E0B1-2250-C138-B9B70F2B8F68}"/>
                </a:ext>
              </a:extLst>
            </p:cNvPr>
            <p:cNvSpPr>
              <a:spLocks/>
            </p:cNvSpPr>
            <p:nvPr/>
          </p:nvSpPr>
          <p:spPr>
            <a:xfrm>
              <a:off x="9019150" y="827919"/>
              <a:ext cx="173736" cy="17373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3FB966C-9CE1-21A9-8A8E-52173BE60432}"/>
                </a:ext>
              </a:extLst>
            </p:cNvPr>
            <p:cNvSpPr txBox="1">
              <a:spLocks/>
            </p:cNvSpPr>
            <p:nvPr/>
          </p:nvSpPr>
          <p:spPr>
            <a:xfrm>
              <a:off x="9279777" y="818286"/>
              <a:ext cx="431208" cy="19300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lvl="0" indent="0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20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685800" lvl="1" indent="-228600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lvl="2" indent="-228600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lvl="3" indent="-228600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lvl="4" indent="-228600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-kind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D851802-925B-9C87-C33F-B4B790C4B16D}"/>
              </a:ext>
            </a:extLst>
          </p:cNvPr>
          <p:cNvGrpSpPr/>
          <p:nvPr/>
        </p:nvGrpSpPr>
        <p:grpSpPr>
          <a:xfrm>
            <a:off x="10339821" y="978464"/>
            <a:ext cx="1238267" cy="193002"/>
            <a:chOff x="10166119" y="818286"/>
            <a:chExt cx="1238267" cy="193002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6B579AE-ADEC-D707-9CE3-F3F070908D08}"/>
                </a:ext>
              </a:extLst>
            </p:cNvPr>
            <p:cNvSpPr>
              <a:spLocks/>
            </p:cNvSpPr>
            <p:nvPr/>
          </p:nvSpPr>
          <p:spPr>
            <a:xfrm>
              <a:off x="10166119" y="827919"/>
              <a:ext cx="173736" cy="17373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AF7C685-3C95-A41F-E451-4215A038CB32}"/>
                </a:ext>
              </a:extLst>
            </p:cNvPr>
            <p:cNvSpPr txBox="1">
              <a:spLocks/>
            </p:cNvSpPr>
            <p:nvPr/>
          </p:nvSpPr>
          <p:spPr>
            <a:xfrm>
              <a:off x="10426746" y="818286"/>
              <a:ext cx="977640" cy="19300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lvl="0" indent="0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20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685800" lvl="1" indent="-228600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lvl="2" indent="-228600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lvl="3" indent="-228600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lvl="4" indent="-228600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ash to country</a:t>
              </a: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F3D52E8B-7B31-5B71-FE3A-50E0E86056AC}"/>
              </a:ext>
            </a:extLst>
          </p:cNvPr>
          <p:cNvSpPr txBox="1">
            <a:spLocks/>
          </p:cNvSpPr>
          <p:nvPr/>
        </p:nvSpPr>
        <p:spPr>
          <a:xfrm>
            <a:off x="521719" y="1234043"/>
            <a:ext cx="5747107" cy="218586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vious lever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9F9DCDF-720F-E407-3159-7F032DD48ED0}"/>
              </a:ext>
            </a:extLst>
          </p:cNvPr>
          <p:cNvSpPr txBox="1">
            <a:spLocks/>
          </p:cNvSpPr>
          <p:nvPr/>
        </p:nvSpPr>
        <p:spPr>
          <a:xfrm>
            <a:off x="7329946" y="1234043"/>
            <a:ext cx="4346117" cy="218586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w levers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C9A03B86-4482-7442-89F2-71A9975F3A7B}"/>
              </a:ext>
            </a:extLst>
          </p:cNvPr>
          <p:cNvCxnSpPr>
            <a:cxnSpLocks/>
          </p:cNvCxnSpPr>
          <p:nvPr/>
        </p:nvCxnSpPr>
        <p:spPr>
          <a:xfrm>
            <a:off x="6461357" y="1849781"/>
            <a:ext cx="868588" cy="0"/>
          </a:xfrm>
          <a:prstGeom prst="straightConnector1">
            <a:avLst/>
          </a:prstGeom>
          <a:ln>
            <a:solidFill>
              <a:srgbClr val="75757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C94293B1-1208-4E35-9E8A-57FF733CFD76}"/>
              </a:ext>
            </a:extLst>
          </p:cNvPr>
          <p:cNvCxnSpPr>
            <a:cxnSpLocks/>
          </p:cNvCxnSpPr>
          <p:nvPr/>
        </p:nvCxnSpPr>
        <p:spPr>
          <a:xfrm flipV="1">
            <a:off x="6425750" y="2862600"/>
            <a:ext cx="864418" cy="2692917"/>
          </a:xfrm>
          <a:prstGeom prst="bentConnector3">
            <a:avLst>
              <a:gd name="adj1" fmla="val 50000"/>
            </a:avLst>
          </a:prstGeom>
          <a:ln>
            <a:solidFill>
              <a:srgbClr val="75757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7942D90E-E1BA-56D7-43BB-C588F1E89D03}"/>
              </a:ext>
            </a:extLst>
          </p:cNvPr>
          <p:cNvSpPr>
            <a:spLocks/>
          </p:cNvSpPr>
          <p:nvPr/>
        </p:nvSpPr>
        <p:spPr>
          <a:xfrm>
            <a:off x="7329945" y="1541647"/>
            <a:ext cx="4346117" cy="61626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1127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ccines &amp; diagnostics</a:t>
            </a:r>
            <a:br>
              <a: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-kind vaccine support and diagnostic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B1316C9-97D7-DFD6-B745-FB593600A292}"/>
              </a:ext>
            </a:extLst>
          </p:cNvPr>
          <p:cNvSpPr>
            <a:spLocks/>
          </p:cNvSpPr>
          <p:nvPr/>
        </p:nvSpPr>
        <p:spPr>
          <a:xfrm>
            <a:off x="7329945" y="1541647"/>
            <a:ext cx="91440" cy="6162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024CBBA-974E-D65B-F01C-B784A7E0E086}"/>
              </a:ext>
            </a:extLst>
          </p:cNvPr>
          <p:cNvSpPr>
            <a:spLocks/>
          </p:cNvSpPr>
          <p:nvPr/>
        </p:nvSpPr>
        <p:spPr>
          <a:xfrm>
            <a:off x="7329540" y="2317137"/>
            <a:ext cx="4339401" cy="7562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1127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sh to countries</a:t>
            </a:r>
            <a:b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ted cash envelope to countri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EA91400-285C-A500-B3A2-8B39C9128B7B}"/>
              </a:ext>
            </a:extLst>
          </p:cNvPr>
          <p:cNvSpPr>
            <a:spLocks/>
          </p:cNvSpPr>
          <p:nvPr/>
        </p:nvSpPr>
        <p:spPr>
          <a:xfrm>
            <a:off x="7332897" y="2317138"/>
            <a:ext cx="98153" cy="7562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314E5E-FAF6-4FC5-8D42-7AC8F32CAB98}"/>
              </a:ext>
            </a:extLst>
          </p:cNvPr>
          <p:cNvSpPr>
            <a:spLocks/>
          </p:cNvSpPr>
          <p:nvPr/>
        </p:nvSpPr>
        <p:spPr>
          <a:xfrm>
            <a:off x="521717" y="2459382"/>
            <a:ext cx="2817832" cy="7713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lth system strengthening (HSS)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2E51E4-259F-5C10-E52C-78D279776143}"/>
              </a:ext>
            </a:extLst>
          </p:cNvPr>
          <p:cNvSpPr>
            <a:spLocks/>
          </p:cNvSpPr>
          <p:nvPr/>
        </p:nvSpPr>
        <p:spPr>
          <a:xfrm>
            <a:off x="521719" y="4294853"/>
            <a:ext cx="1839038" cy="7713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erational support </a:t>
            </a:r>
            <a:b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measles/measles-rubella follow-up vaccination campaigns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E3481C7-D6E2-9878-9E42-357D5DECCB1D}"/>
              </a:ext>
            </a:extLst>
          </p:cNvPr>
          <p:cNvSpPr>
            <a:spLocks/>
          </p:cNvSpPr>
          <p:nvPr/>
        </p:nvSpPr>
        <p:spPr>
          <a:xfrm>
            <a:off x="4429786" y="3377117"/>
            <a:ext cx="1839038" cy="7713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accine </a:t>
            </a:r>
            <a:b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roduction Grants (VIG)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4700C5E-D0FF-BE08-9DD2-4BB75A68E457}"/>
              </a:ext>
            </a:extLst>
          </p:cNvPr>
          <p:cNvSpPr>
            <a:spLocks/>
          </p:cNvSpPr>
          <p:nvPr/>
        </p:nvSpPr>
        <p:spPr>
          <a:xfrm>
            <a:off x="521719" y="3377117"/>
            <a:ext cx="1839038" cy="7713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ld Chain E</a:t>
            </a:r>
            <a:r>
              <a: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ipment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ptimisation P</a:t>
            </a:r>
            <a:r>
              <a: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tform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CCEOP)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57A0524-F27B-D9D8-AD90-DAB0E76AAD49}"/>
              </a:ext>
            </a:extLst>
          </p:cNvPr>
          <p:cNvSpPr>
            <a:spLocks/>
          </p:cNvSpPr>
          <p:nvPr/>
        </p:nvSpPr>
        <p:spPr>
          <a:xfrm>
            <a:off x="4429785" y="4294853"/>
            <a:ext cx="1839038" cy="7713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novation top-up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803B1B-5861-51FB-C7CC-D949915B22B9}"/>
              </a:ext>
            </a:extLst>
          </p:cNvPr>
          <p:cNvSpPr>
            <a:spLocks/>
          </p:cNvSpPr>
          <p:nvPr/>
        </p:nvSpPr>
        <p:spPr>
          <a:xfrm>
            <a:off x="521719" y="1541647"/>
            <a:ext cx="3793071" cy="7713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ccine suppor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ED66060-6379-93F9-01E8-7863927BDC0D}"/>
              </a:ext>
            </a:extLst>
          </p:cNvPr>
          <p:cNvSpPr>
            <a:spLocks/>
          </p:cNvSpPr>
          <p:nvPr/>
        </p:nvSpPr>
        <p:spPr>
          <a:xfrm>
            <a:off x="4429786" y="1541647"/>
            <a:ext cx="1839038" cy="7713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agnostic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5F08C3-8C38-7073-A1B7-36865F6E90DB}"/>
              </a:ext>
            </a:extLst>
          </p:cNvPr>
          <p:cNvSpPr>
            <a:spLocks/>
          </p:cNvSpPr>
          <p:nvPr/>
        </p:nvSpPr>
        <p:spPr>
          <a:xfrm>
            <a:off x="2568258" y="3368812"/>
            <a:ext cx="1746532" cy="7713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rgeted Country A</a:t>
            </a:r>
            <a:r>
              <a: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sistance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TCA)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39ACE87-00DC-5623-5D60-2E31FDBCD019}"/>
              </a:ext>
            </a:extLst>
          </p:cNvPr>
          <p:cNvSpPr>
            <a:spLocks/>
          </p:cNvSpPr>
          <p:nvPr/>
        </p:nvSpPr>
        <p:spPr>
          <a:xfrm>
            <a:off x="6415638" y="1541647"/>
            <a:ext cx="45719" cy="77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7AB1E8E-8CBA-6556-9188-3A8AB009C82B}"/>
              </a:ext>
            </a:extLst>
          </p:cNvPr>
          <p:cNvSpPr>
            <a:spLocks/>
          </p:cNvSpPr>
          <p:nvPr/>
        </p:nvSpPr>
        <p:spPr>
          <a:xfrm>
            <a:off x="6415638" y="2459382"/>
            <a:ext cx="45719" cy="260678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7FBBFF8-B791-5A40-0063-360AD8822F6D}"/>
              </a:ext>
            </a:extLst>
          </p:cNvPr>
          <p:cNvSpPr>
            <a:spLocks/>
          </p:cNvSpPr>
          <p:nvPr/>
        </p:nvSpPr>
        <p:spPr>
          <a:xfrm>
            <a:off x="6415638" y="5212588"/>
            <a:ext cx="45719" cy="77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F54088D-99B4-162A-95DC-0E4D9E11FE2F}"/>
              </a:ext>
            </a:extLst>
          </p:cNvPr>
          <p:cNvSpPr>
            <a:spLocks/>
          </p:cNvSpPr>
          <p:nvPr/>
        </p:nvSpPr>
        <p:spPr>
          <a:xfrm>
            <a:off x="4429786" y="1541647"/>
            <a:ext cx="91440" cy="7713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241F16-67BA-E4C5-051F-D9E5F9EA2CB8}"/>
              </a:ext>
            </a:extLst>
          </p:cNvPr>
          <p:cNvSpPr>
            <a:spLocks/>
          </p:cNvSpPr>
          <p:nvPr/>
        </p:nvSpPr>
        <p:spPr>
          <a:xfrm>
            <a:off x="521719" y="1541647"/>
            <a:ext cx="91440" cy="7713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E97314C-3612-C7E9-6095-43A572C366F0}"/>
              </a:ext>
            </a:extLst>
          </p:cNvPr>
          <p:cNvSpPr>
            <a:spLocks/>
          </p:cNvSpPr>
          <p:nvPr/>
        </p:nvSpPr>
        <p:spPr>
          <a:xfrm>
            <a:off x="521719" y="2459382"/>
            <a:ext cx="91440" cy="771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3693DFC-CF14-6ED3-B88A-7D5F25BD9A9B}"/>
              </a:ext>
            </a:extLst>
          </p:cNvPr>
          <p:cNvSpPr>
            <a:spLocks/>
          </p:cNvSpPr>
          <p:nvPr/>
        </p:nvSpPr>
        <p:spPr>
          <a:xfrm>
            <a:off x="521719" y="3377117"/>
            <a:ext cx="91440" cy="771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9AB91C8-085E-DA60-D0F3-50E61DE16F15}"/>
              </a:ext>
            </a:extLst>
          </p:cNvPr>
          <p:cNvSpPr>
            <a:spLocks/>
          </p:cNvSpPr>
          <p:nvPr/>
        </p:nvSpPr>
        <p:spPr>
          <a:xfrm>
            <a:off x="4429786" y="3377117"/>
            <a:ext cx="91440" cy="771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362FF65-A6D7-07B3-113D-6764F4455FBA}"/>
              </a:ext>
            </a:extLst>
          </p:cNvPr>
          <p:cNvSpPr>
            <a:spLocks/>
          </p:cNvSpPr>
          <p:nvPr/>
        </p:nvSpPr>
        <p:spPr>
          <a:xfrm>
            <a:off x="521719" y="4294853"/>
            <a:ext cx="91440" cy="771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094D0DF-C34D-55BC-DE10-BFFC8B28099F}"/>
              </a:ext>
            </a:extLst>
          </p:cNvPr>
          <p:cNvSpPr>
            <a:spLocks/>
          </p:cNvSpPr>
          <p:nvPr/>
        </p:nvSpPr>
        <p:spPr>
          <a:xfrm>
            <a:off x="4429786" y="4294853"/>
            <a:ext cx="91440" cy="771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1F928D9-C721-CE9A-16EA-C6BC9DB8AF3F}"/>
              </a:ext>
            </a:extLst>
          </p:cNvPr>
          <p:cNvSpPr>
            <a:spLocks/>
          </p:cNvSpPr>
          <p:nvPr/>
        </p:nvSpPr>
        <p:spPr>
          <a:xfrm>
            <a:off x="3510265" y="2467688"/>
            <a:ext cx="2752455" cy="7713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quity Accelerator Fund (zero-dose)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1613CD-0361-2170-34FF-43DE4651A44A}"/>
              </a:ext>
            </a:extLst>
          </p:cNvPr>
          <p:cNvSpPr>
            <a:spLocks/>
          </p:cNvSpPr>
          <p:nvPr/>
        </p:nvSpPr>
        <p:spPr>
          <a:xfrm>
            <a:off x="2475753" y="4294853"/>
            <a:ext cx="1839038" cy="7713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witch grant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BFD885A-7898-0E3B-1F1A-F0233AB69060}"/>
              </a:ext>
            </a:extLst>
          </p:cNvPr>
          <p:cNvSpPr>
            <a:spLocks/>
          </p:cNvSpPr>
          <p:nvPr/>
        </p:nvSpPr>
        <p:spPr>
          <a:xfrm>
            <a:off x="2475753" y="3377117"/>
            <a:ext cx="91440" cy="771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1AA20AE-9B04-79C1-03FA-2DECB8CA930E}"/>
              </a:ext>
            </a:extLst>
          </p:cNvPr>
          <p:cNvSpPr>
            <a:spLocks/>
          </p:cNvSpPr>
          <p:nvPr/>
        </p:nvSpPr>
        <p:spPr>
          <a:xfrm>
            <a:off x="2475753" y="4294853"/>
            <a:ext cx="91440" cy="771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5867BB-9D44-C4C1-4327-B67F41C0A109}"/>
              </a:ext>
            </a:extLst>
          </p:cNvPr>
          <p:cNvSpPr>
            <a:spLocks/>
          </p:cNvSpPr>
          <p:nvPr/>
        </p:nvSpPr>
        <p:spPr>
          <a:xfrm>
            <a:off x="3449892" y="2459382"/>
            <a:ext cx="91440" cy="771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27637BC-35BC-DEF3-4296-F99A8A46FD6C}"/>
              </a:ext>
            </a:extLst>
          </p:cNvPr>
          <p:cNvSpPr>
            <a:spLocks/>
          </p:cNvSpPr>
          <p:nvPr/>
        </p:nvSpPr>
        <p:spPr>
          <a:xfrm>
            <a:off x="515938" y="5220894"/>
            <a:ext cx="5746782" cy="7713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ther vaccination campaign operational support</a:t>
            </a:r>
            <a:b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to be allocated outside of country ceiling)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D4D670E-3B1C-F8BB-4B90-E1EF12D7F384}"/>
              </a:ext>
            </a:extLst>
          </p:cNvPr>
          <p:cNvSpPr>
            <a:spLocks/>
          </p:cNvSpPr>
          <p:nvPr/>
        </p:nvSpPr>
        <p:spPr>
          <a:xfrm>
            <a:off x="521719" y="5220894"/>
            <a:ext cx="91440" cy="771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9" name="GreyLineSeparatorDefault 52">
            <a:extLst>
              <a:ext uri="{FF2B5EF4-FFF2-40B4-BE49-F238E27FC236}">
                <a16:creationId xmlns:a16="http://schemas.microsoft.com/office/drawing/2014/main" id="{E27ABF01-0B1D-476A-84B5-EC25FE8A4E5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521719" y="1474400"/>
            <a:ext cx="5747107" cy="0"/>
          </a:xfrm>
          <a:prstGeom prst="straightConnector1">
            <a:avLst/>
          </a:prstGeom>
          <a:ln w="12700">
            <a:solidFill>
              <a:srgbClr val="7575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reyLineSeparatorDefault 52">
            <a:extLst>
              <a:ext uri="{FF2B5EF4-FFF2-40B4-BE49-F238E27FC236}">
                <a16:creationId xmlns:a16="http://schemas.microsoft.com/office/drawing/2014/main" id="{1B7A07A3-ABA9-A3C2-83E2-01E318C3954A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7329946" y="1474400"/>
            <a:ext cx="4346117" cy="0"/>
          </a:xfrm>
          <a:prstGeom prst="straightConnector1">
            <a:avLst/>
          </a:prstGeom>
          <a:ln w="12700">
            <a:solidFill>
              <a:srgbClr val="7575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>
            <a:extLst>
              <a:ext uri="{FF2B5EF4-FFF2-40B4-BE49-F238E27FC236}">
                <a16:creationId xmlns:a16="http://schemas.microsoft.com/office/drawing/2014/main" id="{0F21ABA0-C3BA-D86B-EF48-C331845CD98B}"/>
              </a:ext>
            </a:extLst>
          </p:cNvPr>
          <p:cNvSpPr/>
          <p:nvPr/>
        </p:nvSpPr>
        <p:spPr>
          <a:xfrm>
            <a:off x="6964968" y="3913291"/>
            <a:ext cx="5100232" cy="20789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53DF9E7-646C-A0DD-936D-B2F9B0960D70}"/>
              </a:ext>
            </a:extLst>
          </p:cNvPr>
          <p:cNvCxnSpPr>
            <a:cxnSpLocks/>
          </p:cNvCxnSpPr>
          <p:nvPr/>
        </p:nvCxnSpPr>
        <p:spPr>
          <a:xfrm>
            <a:off x="7682732" y="3915139"/>
            <a:ext cx="0" cy="1485355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93C19BF-D1EC-B35E-ECDC-D910C27C7955}"/>
              </a:ext>
            </a:extLst>
          </p:cNvPr>
          <p:cNvSpPr txBox="1"/>
          <p:nvPr/>
        </p:nvSpPr>
        <p:spPr>
          <a:xfrm>
            <a:off x="7794610" y="3980630"/>
            <a:ext cx="4276690" cy="55399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SO funding requirement: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oard mandate to allocate &gt;10% funding to civil society partner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34F8370-D5E0-87A9-3405-FF7D04BF6CC1}"/>
              </a:ext>
            </a:extLst>
          </p:cNvPr>
          <p:cNvSpPr txBox="1"/>
          <p:nvPr/>
        </p:nvSpPr>
        <p:spPr>
          <a:xfrm>
            <a:off x="7788509" y="5314709"/>
            <a:ext cx="4276690" cy="580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uardrail for 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</a:t>
            </a:r>
            <a:r>
              <a:rPr kumimoji="0" lang="en-US" sz="1500" b="1" i="0" u="none" strike="noStrike" kern="1200" cap="none" spc="0" normalizeH="0" baseline="0" noProof="0" err="1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asles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measles-rubella</a:t>
            </a:r>
            <a:b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llow-up vaccination campaigns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380996A-4DA6-1EDA-9125-27C367AF52B4}"/>
              </a:ext>
            </a:extLst>
          </p:cNvPr>
          <p:cNvSpPr txBox="1"/>
          <p:nvPr/>
        </p:nvSpPr>
        <p:spPr>
          <a:xfrm>
            <a:off x="7793779" y="4664470"/>
            <a:ext cx="427669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imum floor based on Alliance forecast of 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ld c</a:t>
            </a:r>
            <a:r>
              <a:rPr kumimoji="0" lang="en-US" sz="1500" b="1" i="0" u="none" strike="noStrike" kern="1200" cap="none" spc="0" normalizeH="0" baseline="0" noProof="0" err="1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in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</a:t>
            </a:r>
            <a:r>
              <a:rPr kumimoji="0" lang="en-US" sz="1500" b="1" i="0" u="none" strike="noStrike" kern="1200" cap="none" spc="0" normalizeH="0" baseline="0" noProof="0" err="1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ipment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eds</a:t>
            </a:r>
          </a:p>
        </p:txBody>
      </p:sp>
      <p:pic>
        <p:nvPicPr>
          <p:cNvPr id="19" name="Graphic 18" descr="Group with solid fill">
            <a:extLst>
              <a:ext uri="{FF2B5EF4-FFF2-40B4-BE49-F238E27FC236}">
                <a16:creationId xmlns:a16="http://schemas.microsoft.com/office/drawing/2014/main" id="{A91B017F-562B-37C3-8101-D834D65ACC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173040" y="3915139"/>
            <a:ext cx="457200" cy="457200"/>
          </a:xfrm>
          <a:prstGeom prst="rect">
            <a:avLst/>
          </a:prstGeom>
        </p:spPr>
      </p:pic>
      <p:pic>
        <p:nvPicPr>
          <p:cNvPr id="20" name="Graphic 19" descr="Box with solid fill">
            <a:extLst>
              <a:ext uri="{FF2B5EF4-FFF2-40B4-BE49-F238E27FC236}">
                <a16:creationId xmlns:a16="http://schemas.microsoft.com/office/drawing/2014/main" id="{DDADC25A-131B-F89A-8006-1553650A65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7173040" y="4703361"/>
            <a:ext cx="457200" cy="457200"/>
          </a:xfrm>
          <a:prstGeom prst="rect">
            <a:avLst/>
          </a:prstGeom>
        </p:spPr>
      </p:pic>
      <p:pic>
        <p:nvPicPr>
          <p:cNvPr id="23" name="Graphic 22" descr="Needle with solid fill">
            <a:extLst>
              <a:ext uri="{FF2B5EF4-FFF2-40B4-BE49-F238E27FC236}">
                <a16:creationId xmlns:a16="http://schemas.microsoft.com/office/drawing/2014/main" id="{25FFD5F6-F320-793C-AD35-80989749DEE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7173040" y="5457306"/>
            <a:ext cx="457200" cy="457200"/>
          </a:xfrm>
          <a:prstGeom prst="rect">
            <a:avLst/>
          </a:prstGeom>
        </p:spPr>
      </p:pic>
      <p:sp>
        <p:nvSpPr>
          <p:cNvPr id="69" name="Isosceles Triangle 68">
            <a:extLst>
              <a:ext uri="{FF2B5EF4-FFF2-40B4-BE49-F238E27FC236}">
                <a16:creationId xmlns:a16="http://schemas.microsoft.com/office/drawing/2014/main" id="{4055B8C7-A15C-6A0C-9915-9999F830D80C}"/>
              </a:ext>
            </a:extLst>
          </p:cNvPr>
          <p:cNvSpPr/>
          <p:nvPr/>
        </p:nvSpPr>
        <p:spPr>
          <a:xfrm>
            <a:off x="8752948" y="3105705"/>
            <a:ext cx="1677771" cy="71882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04528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87ADAE-E8B9-E86B-CA46-D5224B72D8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7CAD9BF3-4F3F-3768-A083-99C78F498146}"/>
              </a:ext>
            </a:extLst>
          </p:cNvPr>
          <p:cNvSpPr/>
          <p:nvPr/>
        </p:nvSpPr>
        <p:spPr>
          <a:xfrm rot="5400000" flipH="1">
            <a:off x="1018154" y="3674348"/>
            <a:ext cx="1589171" cy="2577715"/>
          </a:xfrm>
          <a:custGeom>
            <a:avLst/>
            <a:gdLst>
              <a:gd name="connsiteX0" fmla="*/ 0 w 905532"/>
              <a:gd name="connsiteY0" fmla="*/ 0 h 2742586"/>
              <a:gd name="connsiteX1" fmla="*/ 905532 w 905532"/>
              <a:gd name="connsiteY1" fmla="*/ 0 h 2742586"/>
              <a:gd name="connsiteX2" fmla="*/ 905532 w 905532"/>
              <a:gd name="connsiteY2" fmla="*/ 1371293 h 2742586"/>
              <a:gd name="connsiteX3" fmla="*/ 905532 w 905532"/>
              <a:gd name="connsiteY3" fmla="*/ 2742586 h 2742586"/>
              <a:gd name="connsiteX4" fmla="*/ 0 w 905532"/>
              <a:gd name="connsiteY4" fmla="*/ 2742586 h 2742586"/>
              <a:gd name="connsiteX5" fmla="*/ 0 w 905532"/>
              <a:gd name="connsiteY5" fmla="*/ 0 h 2742586"/>
              <a:gd name="connsiteX0" fmla="*/ 0 w 905532"/>
              <a:gd name="connsiteY0" fmla="*/ 0 h 2742586"/>
              <a:gd name="connsiteX1" fmla="*/ 905532 w 905532"/>
              <a:gd name="connsiteY1" fmla="*/ 0 h 2742586"/>
              <a:gd name="connsiteX2" fmla="*/ 461032 w 905532"/>
              <a:gd name="connsiteY2" fmla="*/ 1307793 h 2742586"/>
              <a:gd name="connsiteX3" fmla="*/ 905532 w 905532"/>
              <a:gd name="connsiteY3" fmla="*/ 2742586 h 2742586"/>
              <a:gd name="connsiteX4" fmla="*/ 0 w 905532"/>
              <a:gd name="connsiteY4" fmla="*/ 2742586 h 2742586"/>
              <a:gd name="connsiteX5" fmla="*/ 0 w 905532"/>
              <a:gd name="connsiteY5" fmla="*/ 0 h 2742586"/>
              <a:gd name="connsiteX0" fmla="*/ 0 w 905532"/>
              <a:gd name="connsiteY0" fmla="*/ 0 h 2742586"/>
              <a:gd name="connsiteX1" fmla="*/ 905532 w 905532"/>
              <a:gd name="connsiteY1" fmla="*/ 0 h 2742586"/>
              <a:gd name="connsiteX2" fmla="*/ 507497 w 905532"/>
              <a:gd name="connsiteY2" fmla="*/ 1306181 h 2742586"/>
              <a:gd name="connsiteX3" fmla="*/ 905532 w 905532"/>
              <a:gd name="connsiteY3" fmla="*/ 2742586 h 2742586"/>
              <a:gd name="connsiteX4" fmla="*/ 0 w 905532"/>
              <a:gd name="connsiteY4" fmla="*/ 2742586 h 2742586"/>
              <a:gd name="connsiteX5" fmla="*/ 0 w 905532"/>
              <a:gd name="connsiteY5" fmla="*/ 0 h 2742586"/>
              <a:gd name="connsiteX0" fmla="*/ 0 w 905532"/>
              <a:gd name="connsiteY0" fmla="*/ 0 h 2742586"/>
              <a:gd name="connsiteX1" fmla="*/ 905532 w 905532"/>
              <a:gd name="connsiteY1" fmla="*/ 0 h 2742586"/>
              <a:gd name="connsiteX2" fmla="*/ 596397 w 905532"/>
              <a:gd name="connsiteY2" fmla="*/ 1318629 h 2742586"/>
              <a:gd name="connsiteX3" fmla="*/ 905532 w 905532"/>
              <a:gd name="connsiteY3" fmla="*/ 2742586 h 2742586"/>
              <a:gd name="connsiteX4" fmla="*/ 0 w 905532"/>
              <a:gd name="connsiteY4" fmla="*/ 2742586 h 2742586"/>
              <a:gd name="connsiteX5" fmla="*/ 0 w 905532"/>
              <a:gd name="connsiteY5" fmla="*/ 0 h 2742586"/>
              <a:gd name="connsiteX0" fmla="*/ 0 w 905532"/>
              <a:gd name="connsiteY0" fmla="*/ 0 h 2742586"/>
              <a:gd name="connsiteX1" fmla="*/ 905532 w 905532"/>
              <a:gd name="connsiteY1" fmla="*/ 0 h 2742586"/>
              <a:gd name="connsiteX2" fmla="*/ 721745 w 905532"/>
              <a:gd name="connsiteY2" fmla="*/ 1318629 h 2742586"/>
              <a:gd name="connsiteX3" fmla="*/ 905532 w 905532"/>
              <a:gd name="connsiteY3" fmla="*/ 2742586 h 2742586"/>
              <a:gd name="connsiteX4" fmla="*/ 0 w 905532"/>
              <a:gd name="connsiteY4" fmla="*/ 2742586 h 2742586"/>
              <a:gd name="connsiteX5" fmla="*/ 0 w 905532"/>
              <a:gd name="connsiteY5" fmla="*/ 0 h 2742586"/>
              <a:gd name="connsiteX0" fmla="*/ 0 w 905532"/>
              <a:gd name="connsiteY0" fmla="*/ 0 h 2742586"/>
              <a:gd name="connsiteX1" fmla="*/ 905532 w 905532"/>
              <a:gd name="connsiteY1" fmla="*/ 0 h 2742586"/>
              <a:gd name="connsiteX2" fmla="*/ 721745 w 905532"/>
              <a:gd name="connsiteY2" fmla="*/ 1318629 h 2742586"/>
              <a:gd name="connsiteX3" fmla="*/ 777011 w 905532"/>
              <a:gd name="connsiteY3" fmla="*/ 1967721 h 2742586"/>
              <a:gd name="connsiteX4" fmla="*/ 905532 w 905532"/>
              <a:gd name="connsiteY4" fmla="*/ 2742586 h 2742586"/>
              <a:gd name="connsiteX5" fmla="*/ 0 w 905532"/>
              <a:gd name="connsiteY5" fmla="*/ 2742586 h 2742586"/>
              <a:gd name="connsiteX6" fmla="*/ 0 w 905532"/>
              <a:gd name="connsiteY6" fmla="*/ 0 h 2742586"/>
              <a:gd name="connsiteX0" fmla="*/ 0 w 905532"/>
              <a:gd name="connsiteY0" fmla="*/ 0 h 2742586"/>
              <a:gd name="connsiteX1" fmla="*/ 905532 w 905532"/>
              <a:gd name="connsiteY1" fmla="*/ 0 h 2742586"/>
              <a:gd name="connsiteX2" fmla="*/ 662370 w 905532"/>
              <a:gd name="connsiteY2" fmla="*/ 1367525 h 2742586"/>
              <a:gd name="connsiteX3" fmla="*/ 777011 w 905532"/>
              <a:gd name="connsiteY3" fmla="*/ 1967721 h 2742586"/>
              <a:gd name="connsiteX4" fmla="*/ 905532 w 905532"/>
              <a:gd name="connsiteY4" fmla="*/ 2742586 h 2742586"/>
              <a:gd name="connsiteX5" fmla="*/ 0 w 905532"/>
              <a:gd name="connsiteY5" fmla="*/ 2742586 h 2742586"/>
              <a:gd name="connsiteX6" fmla="*/ 0 w 905532"/>
              <a:gd name="connsiteY6" fmla="*/ 0 h 2742586"/>
              <a:gd name="connsiteX0" fmla="*/ 0 w 905532"/>
              <a:gd name="connsiteY0" fmla="*/ 0 h 2742586"/>
              <a:gd name="connsiteX1" fmla="*/ 905532 w 905532"/>
              <a:gd name="connsiteY1" fmla="*/ 0 h 2742586"/>
              <a:gd name="connsiteX2" fmla="*/ 715148 w 905532"/>
              <a:gd name="connsiteY2" fmla="*/ 1355300 h 2742586"/>
              <a:gd name="connsiteX3" fmla="*/ 777011 w 905532"/>
              <a:gd name="connsiteY3" fmla="*/ 1967721 h 2742586"/>
              <a:gd name="connsiteX4" fmla="*/ 905532 w 905532"/>
              <a:gd name="connsiteY4" fmla="*/ 2742586 h 2742586"/>
              <a:gd name="connsiteX5" fmla="*/ 0 w 905532"/>
              <a:gd name="connsiteY5" fmla="*/ 2742586 h 2742586"/>
              <a:gd name="connsiteX6" fmla="*/ 0 w 905532"/>
              <a:gd name="connsiteY6" fmla="*/ 0 h 2742586"/>
              <a:gd name="connsiteX0" fmla="*/ 0 w 905532"/>
              <a:gd name="connsiteY0" fmla="*/ 0 h 2742586"/>
              <a:gd name="connsiteX1" fmla="*/ 905532 w 905532"/>
              <a:gd name="connsiteY1" fmla="*/ 0 h 2742586"/>
              <a:gd name="connsiteX2" fmla="*/ 715148 w 905532"/>
              <a:gd name="connsiteY2" fmla="*/ 1355300 h 2742586"/>
              <a:gd name="connsiteX3" fmla="*/ 807183 w 905532"/>
              <a:gd name="connsiteY3" fmla="*/ 1981480 h 2742586"/>
              <a:gd name="connsiteX4" fmla="*/ 905532 w 905532"/>
              <a:gd name="connsiteY4" fmla="*/ 2742586 h 2742586"/>
              <a:gd name="connsiteX5" fmla="*/ 0 w 905532"/>
              <a:gd name="connsiteY5" fmla="*/ 2742586 h 2742586"/>
              <a:gd name="connsiteX6" fmla="*/ 0 w 905532"/>
              <a:gd name="connsiteY6" fmla="*/ 0 h 2742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5532" h="2742586">
                <a:moveTo>
                  <a:pt x="0" y="0"/>
                </a:moveTo>
                <a:lnTo>
                  <a:pt x="905532" y="0"/>
                </a:lnTo>
                <a:lnTo>
                  <a:pt x="715148" y="1355300"/>
                </a:lnTo>
                <a:cubicBezTo>
                  <a:pt x="744566" y="1567589"/>
                  <a:pt x="777765" y="1769191"/>
                  <a:pt x="807183" y="1981480"/>
                </a:cubicBezTo>
                <a:lnTo>
                  <a:pt x="905532" y="2742586"/>
                </a:lnTo>
                <a:lnTo>
                  <a:pt x="0" y="2742586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Arrow: Pentagon 41">
            <a:extLst>
              <a:ext uri="{FF2B5EF4-FFF2-40B4-BE49-F238E27FC236}">
                <a16:creationId xmlns:a16="http://schemas.microsoft.com/office/drawing/2014/main" id="{4F9797A2-88ED-07FF-704C-E198E1C54B1A}"/>
              </a:ext>
            </a:extLst>
          </p:cNvPr>
          <p:cNvSpPr/>
          <p:nvPr/>
        </p:nvSpPr>
        <p:spPr>
          <a:xfrm rot="5400000">
            <a:off x="310245" y="1657572"/>
            <a:ext cx="3014318" cy="2568390"/>
          </a:xfrm>
          <a:prstGeom prst="homePlate">
            <a:avLst>
              <a:gd name="adj" fmla="val 13162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6D423D0-85D1-5CBF-0F20-258FE90D95A9}"/>
              </a:ext>
            </a:extLst>
          </p:cNvPr>
          <p:cNvGraphicFramePr>
            <a:graphicFrameLocks noGrp="1"/>
          </p:cNvGraphicFramePr>
          <p:nvPr/>
        </p:nvGraphicFramePr>
        <p:xfrm>
          <a:off x="1086070" y="1061357"/>
          <a:ext cx="10594301" cy="4696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1680">
                  <a:extLst>
                    <a:ext uri="{9D8B030D-6E8A-4147-A177-3AD203B41FA5}">
                      <a16:colId xmlns:a16="http://schemas.microsoft.com/office/drawing/2014/main" val="518388194"/>
                    </a:ext>
                  </a:extLst>
                </a:gridCol>
                <a:gridCol w="8582621">
                  <a:extLst>
                    <a:ext uri="{9D8B030D-6E8A-4147-A177-3AD203B41FA5}">
                      <a16:colId xmlns:a16="http://schemas.microsoft.com/office/drawing/2014/main" val="2499783359"/>
                    </a:ext>
                  </a:extLst>
                </a:gridCol>
              </a:tblGrid>
              <a:tr h="3073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Key shifts in 6.0 </a:t>
                      </a:r>
                    </a:p>
                  </a:txBody>
                  <a:tcPr marL="28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098294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lvl="0" indent="-101600" algn="l" defTabSz="914400" rtl="0" eaLnBrk="1" fontAlgn="auto" latinLnBrk="0" hangingPunct="1">
                        <a:lnSpc>
                          <a:spcPct val="958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ry ownership</a:t>
                      </a:r>
                    </a:p>
                  </a:txBody>
                  <a:tcPr marL="18288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01600" algn="l" defTabSz="914400" rtl="0" eaLnBrk="1" fontAlgn="auto" latinLnBrk="0" hangingPunct="1">
                        <a:lnSpc>
                          <a:spcPct val="958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Rebalance towards </a:t>
                      </a:r>
                      <a:r>
                        <a:rPr lang="en-GB" sz="1600" b="1">
                          <a:solidFill>
                            <a:schemeClr val="accent2"/>
                          </a:solidFill>
                          <a:latin typeface="Arial"/>
                          <a:cs typeface="Arial"/>
                        </a:rPr>
                        <a:t>country-centric and differentiated model</a:t>
                      </a:r>
                    </a:p>
                  </a:txBody>
                  <a:tcPr marL="180000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5724013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6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erentiation</a:t>
                      </a:r>
                      <a:endParaRPr lang="en-US" sz="1600" b="0" i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18288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1" i="0">
                          <a:solidFill>
                            <a:schemeClr val="accent2"/>
                          </a:solidFill>
                          <a:latin typeface="Arial"/>
                          <a:cs typeface="Arial"/>
                        </a:rPr>
                        <a:t>Align TA with Gavi 6.0 top priorities, based on country context, </a:t>
                      </a:r>
                      <a:r>
                        <a:rPr lang="en-GB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cluding deliberate focus on country capacity building where relevant</a:t>
                      </a:r>
                      <a:endParaRPr lang="en-US" sz="1600" b="0" i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180000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0074983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ext appropriate partnerships</a:t>
                      </a:r>
                    </a:p>
                  </a:txBody>
                  <a:tcPr marL="18288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Systematically </a:t>
                      </a:r>
                      <a:r>
                        <a:rPr lang="en-US" sz="1600" b="1">
                          <a:solidFill>
                            <a:schemeClr val="accent2"/>
                          </a:solidFill>
                          <a:effectLst/>
                          <a:latin typeface="Arial"/>
                          <a:cs typeface="Arial"/>
                        </a:rPr>
                        <a:t>leverage comparative strengths 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of core &amp; other context appropriate partners</a:t>
                      </a:r>
                      <a:endParaRPr lang="en-GB" sz="1600" b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80000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9400088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cus on results</a:t>
                      </a:r>
                    </a:p>
                  </a:txBody>
                  <a:tcPr marL="18288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b="0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Move to a </a:t>
                      </a:r>
                      <a:r>
                        <a:rPr lang="en-GB" sz="1600" b="1" kern="1200">
                          <a:solidFill>
                            <a:schemeClr val="accent2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implified but rigourous </a:t>
                      </a:r>
                      <a:r>
                        <a:rPr lang="en-GB" sz="1600" b="0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performance management process that</a:t>
                      </a:r>
                      <a:r>
                        <a:rPr lang="en-GB" sz="1600" b="0" kern="1200">
                          <a:solidFill>
                            <a:schemeClr val="accent2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en-GB" sz="1600" b="1" kern="1200">
                          <a:solidFill>
                            <a:schemeClr val="accent2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focuses on learning and improving results</a:t>
                      </a:r>
                    </a:p>
                  </a:txBody>
                  <a:tcPr marL="180000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291808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it-IT" sz="16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unding model</a:t>
                      </a:r>
                      <a:endParaRPr lang="en-US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Optimise partner support through a </a:t>
                      </a:r>
                      <a:r>
                        <a:rPr lang="en-US" sz="1600" b="1" kern="1200">
                          <a:solidFill>
                            <a:schemeClr val="tx2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treamlined funding model </a:t>
                      </a:r>
                      <a:endParaRPr lang="en-GB" sz="1600" b="1" kern="1200">
                        <a:solidFill>
                          <a:schemeClr val="tx2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180000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0028941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it-IT" sz="16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ships Accountability Framework (PAF)</a:t>
                      </a:r>
                      <a:endParaRPr lang="en-US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GB" sz="1600" b="1" kern="1200">
                          <a:solidFill>
                            <a:schemeClr val="tx2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Mutual accountability </a:t>
                      </a:r>
                      <a:r>
                        <a:rPr lang="en-GB" sz="1600" b="0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aligned with roles and responsibilities, captured in a </a:t>
                      </a:r>
                      <a:r>
                        <a:rPr lang="en-GB" sz="1600" b="1" kern="1200">
                          <a:solidFill>
                            <a:schemeClr val="tx2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result-focused accountability framework </a:t>
                      </a:r>
                    </a:p>
                  </a:txBody>
                  <a:tcPr marL="180000" marR="182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7421848"/>
                  </a:ext>
                </a:extLst>
              </a:tr>
            </a:tbl>
          </a:graphicData>
        </a:graphic>
      </p:graphicFrame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AA5CF88-67A7-8F3C-8366-2BD5D762F8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A5CF88-67A7-8F3C-8366-2BD5D762F8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ee4pContent1">
            <a:extLst>
              <a:ext uri="{FF2B5EF4-FFF2-40B4-BE49-F238E27FC236}">
                <a16:creationId xmlns:a16="http://schemas.microsoft.com/office/drawing/2014/main" id="{74171BA6-117C-0494-2CC0-D865193B8CED}"/>
              </a:ext>
            </a:extLst>
          </p:cNvPr>
          <p:cNvSpPr txBox="1"/>
          <p:nvPr/>
        </p:nvSpPr>
        <p:spPr>
          <a:xfrm>
            <a:off x="980929" y="1817138"/>
            <a:ext cx="2568390" cy="59214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  </a:t>
            </a: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6" name="ee4pContent3">
            <a:extLst>
              <a:ext uri="{FF2B5EF4-FFF2-40B4-BE49-F238E27FC236}">
                <a16:creationId xmlns:a16="http://schemas.microsoft.com/office/drawing/2014/main" id="{8322F95E-78E2-0799-AF81-42101D5E4DCA}"/>
              </a:ext>
            </a:extLst>
          </p:cNvPr>
          <p:cNvSpPr txBox="1"/>
          <p:nvPr/>
        </p:nvSpPr>
        <p:spPr>
          <a:xfrm>
            <a:off x="933670" y="2529426"/>
            <a:ext cx="2316886" cy="754681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8" name="ee4pContent4">
            <a:extLst>
              <a:ext uri="{FF2B5EF4-FFF2-40B4-BE49-F238E27FC236}">
                <a16:creationId xmlns:a16="http://schemas.microsoft.com/office/drawing/2014/main" id="{40A55746-A65A-BEA2-8BAD-662AA1C37B92}"/>
              </a:ext>
            </a:extLst>
          </p:cNvPr>
          <p:cNvSpPr txBox="1"/>
          <p:nvPr/>
        </p:nvSpPr>
        <p:spPr>
          <a:xfrm>
            <a:off x="904729" y="5254755"/>
            <a:ext cx="2316886" cy="686074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0" name="ee4pContent4">
            <a:extLst>
              <a:ext uri="{FF2B5EF4-FFF2-40B4-BE49-F238E27FC236}">
                <a16:creationId xmlns:a16="http://schemas.microsoft.com/office/drawing/2014/main" id="{94772842-22F8-B64D-39DD-425CA0825ED2}"/>
              </a:ext>
            </a:extLst>
          </p:cNvPr>
          <p:cNvSpPr txBox="1"/>
          <p:nvPr/>
        </p:nvSpPr>
        <p:spPr>
          <a:xfrm>
            <a:off x="980929" y="4623292"/>
            <a:ext cx="2316886" cy="46859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ee4pContent3">
            <a:extLst>
              <a:ext uri="{FF2B5EF4-FFF2-40B4-BE49-F238E27FC236}">
                <a16:creationId xmlns:a16="http://schemas.microsoft.com/office/drawing/2014/main" id="{789520ED-0A91-F1C8-8DB8-0BA11DC557A8}"/>
              </a:ext>
            </a:extLst>
          </p:cNvPr>
          <p:cNvSpPr txBox="1"/>
          <p:nvPr/>
        </p:nvSpPr>
        <p:spPr>
          <a:xfrm>
            <a:off x="980929" y="3676423"/>
            <a:ext cx="2316886" cy="754681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10886E-EDC2-9100-6F5B-85FD6F960365}"/>
              </a:ext>
            </a:extLst>
          </p:cNvPr>
          <p:cNvSpPr txBox="1"/>
          <p:nvPr/>
        </p:nvSpPr>
        <p:spPr>
          <a:xfrm rot="16200000">
            <a:off x="168843" y="2636612"/>
            <a:ext cx="13387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3E9B6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ncipl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EE2CDF5-8E73-201A-3821-E850C6F3E74C}"/>
              </a:ext>
            </a:extLst>
          </p:cNvPr>
          <p:cNvSpPr txBox="1"/>
          <p:nvPr/>
        </p:nvSpPr>
        <p:spPr>
          <a:xfrm rot="16200000">
            <a:off x="202466" y="4877828"/>
            <a:ext cx="12715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v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37C7DD-C047-C368-D4FA-3B648580A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</p:spPr>
        <p:txBody>
          <a:bodyPr vert="horz">
            <a:noAutofit/>
          </a:bodyPr>
          <a:lstStyle/>
          <a:p>
            <a:r>
              <a:rPr lang="en-GB" sz="3200"/>
              <a:t>Partnerships approach for 6.0</a:t>
            </a:r>
          </a:p>
        </p:txBody>
      </p:sp>
    </p:spTree>
    <p:extLst>
      <p:ext uri="{BB962C8B-B14F-4D97-AF65-F5344CB8AC3E}">
        <p14:creationId xmlns:p14="http://schemas.microsoft.com/office/powerpoint/2010/main" val="10620679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CB7309-D97D-5277-DDA0-FC7E614DDC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6785D0C-5C21-B3B3-D0D9-752113A142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85D0C-5C21-B3B3-D0D9-752113A142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3046773-694B-29F6-7D30-85CC92635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CH" dirty="0"/>
              <a:t>6.0 </a:t>
            </a:r>
            <a:r>
              <a:rPr lang="en-US" dirty="0"/>
              <a:t>BUDGET </a:t>
            </a:r>
            <a:r>
              <a:rPr lang="en-CH" dirty="0"/>
              <a:t>RECALIBRATION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0A8A12-1AD5-02C7-18A0-7508655A573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381946" cy="5037819"/>
          </a:xfrm>
        </p:spPr>
        <p:txBody>
          <a:bodyPr>
            <a:normAutofit/>
          </a:bodyPr>
          <a:lstStyle/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H" sz="2800" dirty="0"/>
              <a:t>Gavi </a:t>
            </a:r>
            <a:r>
              <a:rPr lang="en-US" sz="2800" dirty="0"/>
              <a:t>secured over US$9B for the 2026-2030 strategic period through replenishment efforts spanning over 18 months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Gavi </a:t>
            </a:r>
            <a:r>
              <a:rPr lang="en-CH" sz="2800" dirty="0"/>
              <a:t>Board was </a:t>
            </a:r>
            <a:r>
              <a:rPr lang="en-US" sz="2800" dirty="0"/>
              <a:t>requested </a:t>
            </a:r>
            <a:r>
              <a:rPr lang="en-CH" sz="2800" dirty="0"/>
              <a:t>to </a:t>
            </a:r>
            <a:r>
              <a:rPr lang="en-US" sz="2800" dirty="0"/>
              <a:t>adjust</a:t>
            </a:r>
            <a:r>
              <a:rPr lang="en-CH" sz="2800" dirty="0"/>
              <a:t> </a:t>
            </a:r>
            <a:r>
              <a:rPr lang="en-US" sz="2800" dirty="0"/>
              <a:t>the </a:t>
            </a:r>
            <a:r>
              <a:rPr lang="en-CH" sz="2800" dirty="0"/>
              <a:t>6.0 </a:t>
            </a:r>
            <a:r>
              <a:rPr lang="en-US" sz="2800" dirty="0"/>
              <a:t>ambition by US</a:t>
            </a:r>
            <a:r>
              <a:rPr lang="en-CH" sz="2800" b="1" dirty="0"/>
              <a:t>$2.5 – 3</a:t>
            </a:r>
            <a:r>
              <a:rPr lang="en-US" sz="2800" b="1" dirty="0"/>
              <a:t>B </a:t>
            </a:r>
            <a:r>
              <a:rPr lang="en-US" sz="2800" dirty="0"/>
              <a:t>based on the replenishment outcome</a:t>
            </a:r>
            <a:r>
              <a:rPr lang="en-CH" sz="2800" dirty="0"/>
              <a:t>:</a:t>
            </a:r>
          </a:p>
          <a:p>
            <a:pPr marL="1028700" lvl="1" indent="-342900"/>
            <a:r>
              <a:rPr lang="en-CH" sz="2800" dirty="0"/>
              <a:t>All previous Board decisions were </a:t>
            </a:r>
            <a:r>
              <a:rPr lang="en-US" sz="2800" dirty="0"/>
              <a:t>eligible </a:t>
            </a:r>
            <a:r>
              <a:rPr lang="en-CH" sz="2800" dirty="0"/>
              <a:t>for </a:t>
            </a:r>
            <a:r>
              <a:rPr lang="en-US" sz="2800" dirty="0"/>
              <a:t>review</a:t>
            </a:r>
            <a:endParaRPr lang="en-CH" sz="2800" dirty="0"/>
          </a:p>
          <a:p>
            <a:endParaRPr lang="en-CH" sz="2800" dirty="0"/>
          </a:p>
          <a:p>
            <a:endParaRPr lang="en-CH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52492211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D33E8C-D611-072E-3500-9988BE24ED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C3DB94B-46F9-5023-77C9-5174FACA09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3DB94B-46F9-5023-77C9-5174FACA0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DA54BA2-BD47-78E5-5361-2E574DEC2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KEY</a:t>
            </a:r>
            <a:r>
              <a:rPr lang="en-CH" dirty="0"/>
              <a:t> OUTCOMES</a:t>
            </a:r>
            <a:r>
              <a:rPr lang="en-US" dirty="0"/>
              <a:t> RELEVANT FOR CSO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74BFB2-F89E-379A-26E4-0C36032366BB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CH" dirty="0"/>
          </a:p>
          <a:p>
            <a:endParaRPr lang="en-CH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49B9659-3C66-C366-8349-56AD343ED330}"/>
              </a:ext>
            </a:extLst>
          </p:cNvPr>
          <p:cNvSpPr txBox="1">
            <a:spLocks/>
          </p:cNvSpPr>
          <p:nvPr/>
        </p:nvSpPr>
        <p:spPr>
          <a:xfrm>
            <a:off x="683533" y="1457324"/>
            <a:ext cx="11144930" cy="4608511"/>
          </a:xfrm>
          <a:prstGeom prst="rect">
            <a:avLst/>
          </a:prstGeom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A1D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uctions across all Strategic Goal are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A1D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imum </a:t>
            </a:r>
            <a:r>
              <a:rPr kumimoji="0" lang="en-CH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% </a:t>
            </a:r>
            <a:r>
              <a:rPr kumimoji="0" lang="en-CH" sz="2800" b="1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ngfencing</a:t>
            </a:r>
            <a:r>
              <a:rPr kumimoji="0" lang="en-CH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CSOs </a:t>
            </a:r>
            <a:r>
              <a:rPr kumimoji="0" lang="en-CH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tained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to be applied to the consolidated cash grant</a:t>
            </a:r>
            <a:endParaRPr kumimoji="0" lang="en-CH" sz="2800" b="0" i="0" u="none" strike="noStrike" kern="1200" cap="none" spc="0" normalizeH="0" baseline="0" noProof="0" dirty="0">
              <a:ln>
                <a:noFill/>
              </a:ln>
              <a:solidFill>
                <a:srgbClr val="005CB9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A1D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H" sz="2800" b="1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gil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CH" sz="2800" b="1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amp;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CH" sz="2800" b="1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manitarian</a:t>
            </a:r>
            <a:r>
              <a:rPr kumimoji="0" lang="en-CH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ort</a:t>
            </a:r>
            <a:r>
              <a:rPr kumimoji="0" lang="en-CH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etained, with $150 million reduction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budget</a:t>
            </a:r>
            <a:endParaRPr kumimoji="0" lang="en-CH" sz="2800" b="0" i="0" u="none" strike="noStrike" kern="1200" cap="none" spc="0" normalizeH="0" baseline="0" noProof="0" dirty="0">
              <a:ln>
                <a:noFill/>
              </a:ln>
              <a:solidFill>
                <a:srgbClr val="005CB9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A1D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H" sz="2800" b="1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obal/Regional Solutions Fund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viously SFA</a:t>
            </a:r>
            <a:r>
              <a:rPr kumimoji="0" lang="en-CH" sz="2800" b="0" i="0" u="none" strike="noStrike" kern="1200" cap="none" spc="0" normalizeH="0" baseline="0" noProof="0" dirty="0">
                <a:ln>
                  <a:noFill/>
                </a:ln>
                <a:solidFill>
                  <a:srgbClr val="005CB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etained</a:t>
            </a:r>
          </a:p>
        </p:txBody>
      </p:sp>
    </p:spTree>
    <p:extLst>
      <p:ext uri="{BB962C8B-B14F-4D97-AF65-F5344CB8AC3E}">
        <p14:creationId xmlns:p14="http://schemas.microsoft.com/office/powerpoint/2010/main" val="34944559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9B47E31-4D57-70CC-347A-235510327C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B47E31-4D57-70CC-347A-23551032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614FDB5-0CBE-7170-9731-136E25A6F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OTHER </a:t>
            </a:r>
            <a:r>
              <a:rPr lang="en-CH" dirty="0"/>
              <a:t>APPROVAL</a:t>
            </a:r>
            <a:r>
              <a:rPr lang="en-US" dirty="0"/>
              <a:t>S FROM BOARD M</a:t>
            </a:r>
            <a:r>
              <a:rPr lang="en-CH" dirty="0"/>
              <a:t>EETING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91D923-3449-1038-9633-4BC4345CAC5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5052333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CH" sz="2800" dirty="0"/>
              <a:t>First Gavi Health Systems Strategy </a:t>
            </a: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Secretariat led Exceptional Grant Extensions for country grant extension requests during the transition from Gavi 5.1 to 6.0</a:t>
            </a:r>
            <a:endParaRPr lang="en-CH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CH" sz="2800" dirty="0"/>
              <a:t>Governance Pathways for Next Generation Vacc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CH" sz="2800" dirty="0"/>
              <a:t>Revised Health Systems and Immunisation Strengthening (HSIS) Polic</a:t>
            </a:r>
            <a:r>
              <a:rPr lang="en-US" sz="2800" dirty="0"/>
              <a:t>y as part of the Eligibility &amp; Transition Policy</a:t>
            </a:r>
            <a:endParaRPr lang="en-CH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CH" sz="2800" dirty="0"/>
              <a:t>Opening of funding window for an emergency Mpox stockpile and for Respiratory Syncytial Virus (RSV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CH" sz="2800" dirty="0"/>
              <a:t>Updated Fragile and Humanitarian (F&amp;H) approach</a:t>
            </a: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Evolution of the Gavi Partnership Approach</a:t>
            </a:r>
            <a:endParaRPr lang="en-CH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CH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CH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CH" sz="2800" dirty="0"/>
          </a:p>
        </p:txBody>
      </p:sp>
    </p:spTree>
    <p:extLst>
      <p:ext uri="{BB962C8B-B14F-4D97-AF65-F5344CB8AC3E}">
        <p14:creationId xmlns:p14="http://schemas.microsoft.com/office/powerpoint/2010/main" val="29560930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55DE1FE-BA0D-2461-C7D9-C401A5C0B2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solidFill>
            <a:schemeClr val="tx2">
              <a:lumMod val="5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232C8-CE3E-CD26-D115-BD75FABDF3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3214" y="2407298"/>
            <a:ext cx="5012580" cy="2912847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</a:pPr>
            <a:r>
              <a:rPr lang="en-US" dirty="0"/>
              <a:t>Welcome &amp; Gavi’s Vision for CSOs in Health Systems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BCFA69-A55D-4EE5-1E66-449BD78173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53214" y="5497846"/>
            <a:ext cx="5012580" cy="665210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Kirsten Gagnaire, Facilitator &amp; Bvudzai Magadzire, Gavi CSO Board </a:t>
            </a:r>
            <a:r>
              <a:rPr lang="en-US" b="1" dirty="0" err="1"/>
              <a:t>Represnt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00221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9A70FEE-5A27-4CBD-2728-5AC9564C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Q&amp;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3C11FA9-A20A-3C41-7BDE-364B2730D93D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lnSpcReduction="10000"/>
          </a:bodyPr>
          <a:lstStyle/>
          <a:p>
            <a:pPr marL="742950" marR="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hat will be different in how CSOs are engaged in 6.0?</a:t>
            </a:r>
          </a:p>
          <a:p>
            <a:pPr marL="742950" marR="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2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here are entry points for CSOs to shape policy and implementation going forward?</a:t>
            </a:r>
          </a:p>
          <a:p>
            <a:pPr marR="0" lvl="1" algn="ctr">
              <a:lnSpc>
                <a:spcPct val="115000"/>
              </a:lnSpc>
              <a:spcAft>
                <a:spcPts val="800"/>
              </a:spcAft>
              <a:buSzPts val="1000"/>
              <a:tabLst>
                <a:tab pos="914400" algn="l"/>
              </a:tabLst>
            </a:pPr>
            <a:endParaRPr lang="en-US" sz="2400" dirty="0">
              <a:solidFill>
                <a:schemeClr val="bg2"/>
              </a:solidFill>
            </a:endParaRPr>
          </a:p>
          <a:p>
            <a:pPr marL="457200" marR="0" lvl="1" indent="0" algn="ctr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914400" algn="l"/>
              </a:tabLst>
            </a:pPr>
            <a:endParaRPr lang="en-US" sz="2400" b="1" dirty="0">
              <a:solidFill>
                <a:schemeClr val="tx2">
                  <a:lumMod val="75000"/>
                </a:schemeClr>
              </a:solidFill>
            </a:endParaRPr>
          </a:p>
          <a:p>
            <a:pPr marL="457200" marR="0" lvl="1" indent="0" algn="ctr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914400" algn="l"/>
              </a:tabLst>
            </a:pPr>
            <a:r>
              <a:rPr lang="en-US" sz="2400" b="1" dirty="0">
                <a:solidFill>
                  <a:schemeClr val="tx2">
                    <a:lumMod val="75000"/>
                  </a:schemeClr>
                </a:solidFill>
              </a:rPr>
              <a:t>Please raise your hand or use the Zoom Q&amp;A function to type your question</a:t>
            </a:r>
            <a:endParaRPr lang="en-US" sz="2400" b="1" kern="100" dirty="0">
              <a:solidFill>
                <a:schemeClr val="tx2">
                  <a:lumMod val="75000"/>
                </a:schemeClr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96AAC2-E1E8-991E-2267-47345D293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40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EE242B-1F80-0C11-FCE0-ACE30C3E25F3}"/>
              </a:ext>
            </a:extLst>
          </p:cNvPr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chemeClr val="bg2"/>
                </a:solidFill>
                <a:latin typeface="Aptos" panose="020B0004020202020204" pitchFamily="34" charset="0"/>
              </a:rPr>
              <a:t>Qu'est-ce qui changera dans la façon dont les OSC seront impliquées dans la version 6.0 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chemeClr val="bg2"/>
                </a:solidFill>
                <a:latin typeface="Aptos" panose="020B0004020202020204" pitchFamily="34" charset="0"/>
              </a:rPr>
              <a:t>Quels sont les points d'entrée pour que les OSC puissent façonner les politiques et leur mise en œuvre à l'avenir ?</a:t>
            </a:r>
          </a:p>
          <a:p>
            <a:pPr algn="ctr"/>
            <a:r>
              <a:rPr lang="fr-FR" dirty="0">
                <a:solidFill>
                  <a:schemeClr val="bg2"/>
                </a:solidFill>
              </a:rPr>
              <a:t>Veuillez lever la main ou utiliser la fonction Q&amp;R de Zoom pour taper votre question.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15697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C9D9DF-D5DD-5692-1C1E-22DB3B539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41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AFA3A5-3539-D48E-6F02-AE51F5B5D7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tion Footer</a:t>
            </a:r>
          </a:p>
        </p:txBody>
      </p:sp>
      <p:pic>
        <p:nvPicPr>
          <p:cNvPr id="7" name="Picture 6" descr="A group of people standing outside a building">
            <a:extLst>
              <a:ext uri="{FF2B5EF4-FFF2-40B4-BE49-F238E27FC236}">
                <a16:creationId xmlns:a16="http://schemas.microsoft.com/office/drawing/2014/main" id="{EFCA379E-950A-EDAE-3604-C0A98ED17D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0676" y="0"/>
            <a:ext cx="12051323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6A69DF7-8AAE-3675-551B-BCD27906CBD3}"/>
              </a:ext>
            </a:extLst>
          </p:cNvPr>
          <p:cNvSpPr txBox="1"/>
          <p:nvPr/>
        </p:nvSpPr>
        <p:spPr>
          <a:xfrm>
            <a:off x="4979" y="5295481"/>
            <a:ext cx="12187021" cy="830997"/>
          </a:xfrm>
          <a:prstGeom prst="rect">
            <a:avLst/>
          </a:prstGeom>
          <a:solidFill>
            <a:schemeClr val="tx2">
              <a:alpha val="83000"/>
            </a:schemeClr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“A world in which civil society organisations are integral partners in a vibrant, strong social movement towards reaching countries' immunisation goals.”</a:t>
            </a:r>
            <a:r>
              <a:rPr lang="en-US"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0382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4625EFC-7FA8-9021-3A47-3889E62FD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SCE 2025 Webinar Series and CSO Consultations: a platform to listen, learn, and shape the future of CSO engagement</a:t>
            </a:r>
            <a:br>
              <a:rPr lang="en-US" dirty="0"/>
            </a:b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F4CC8CB-FF34-8267-ED4B-7E240DC1A46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21718" y="2151855"/>
            <a:ext cx="6007071" cy="3806985"/>
          </a:xfrm>
        </p:spPr>
        <p:txBody>
          <a:bodyPr/>
          <a:lstStyle/>
          <a:p>
            <a:pPr marL="0" indent="0" algn="ctr">
              <a:buNone/>
            </a:pPr>
            <a:r>
              <a:rPr lang="en-US" b="1" dirty="0"/>
              <a:t>Webinar #2:  </a:t>
            </a:r>
            <a:r>
              <a:rPr lang="en-US" dirty="0"/>
              <a:t>Reaching Communities in Crisis: How CSOs Deliver Impact in Fragile Settings with Gavi Support</a:t>
            </a:r>
          </a:p>
          <a:p>
            <a:pPr marL="0" indent="0" algn="ctr">
              <a:buNone/>
            </a:pPr>
            <a:r>
              <a:rPr lang="en-US" b="1" dirty="0"/>
              <a:t>18 September 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b="1" dirty="0"/>
              <a:t>Webinar#3:  </a:t>
            </a:r>
            <a:r>
              <a:rPr lang="en-US" dirty="0"/>
              <a:t>Influencing Policy and Equity: How CSOs Strengthen Gavi’s Work Across the Health System</a:t>
            </a:r>
          </a:p>
          <a:p>
            <a:pPr marL="0" indent="0" algn="ctr">
              <a:buNone/>
            </a:pPr>
            <a:r>
              <a:rPr lang="en-US" b="1" dirty="0"/>
              <a:t>16 October</a:t>
            </a:r>
          </a:p>
          <a:p>
            <a:endParaRPr lang="en-US" dirty="0"/>
          </a:p>
          <a:p>
            <a:endParaRPr lang="en-US" sz="2400" b="0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DD6801A-A218-479D-608F-522C115C474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4846809"/>
            <a:ext cx="3715133" cy="792044"/>
          </a:xfrm>
        </p:spPr>
        <p:txBody>
          <a:bodyPr>
            <a:normAutofit fontScale="92500" lnSpcReduction="20000"/>
          </a:bodyPr>
          <a:lstStyle/>
          <a:p>
            <a:r>
              <a:rPr lang="en-US" sz="1800" dirty="0"/>
              <a:t>Gavi seeks candid feedback, concrete recommendations, and forward-looking collaboration</a:t>
            </a:r>
          </a:p>
          <a:p>
            <a:endParaRPr lang="en-US" dirty="0"/>
          </a:p>
        </p:txBody>
      </p:sp>
      <p:pic>
        <p:nvPicPr>
          <p:cNvPr id="25" name="Picture Placeholder 24" descr="Group brainstorm with solid fill">
            <a:extLst>
              <a:ext uri="{FF2B5EF4-FFF2-40B4-BE49-F238E27FC236}">
                <a16:creationId xmlns:a16="http://schemas.microsoft.com/office/drawing/2014/main" id="{70086ED3-9270-217B-2065-17B0D31B5045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A18F5E6-EA68-6994-397B-6A4A8722857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Informational and consultative</a:t>
            </a:r>
          </a:p>
        </p:txBody>
      </p:sp>
      <p:pic>
        <p:nvPicPr>
          <p:cNvPr id="29" name="Picture Placeholder 28" descr="Boardroom with solid fill">
            <a:extLst>
              <a:ext uri="{FF2B5EF4-FFF2-40B4-BE49-F238E27FC236}">
                <a16:creationId xmlns:a16="http://schemas.microsoft.com/office/drawing/2014/main" id="{18DC809E-6DC2-2CB9-C43B-026A9A8EA25E}"/>
              </a:ext>
            </a:extLst>
          </p:cNvPr>
          <p:cNvPicPr>
            <a:picLocks noGrp="1" noChangeAspect="1"/>
          </p:cNvPicPr>
          <p:nvPr>
            <p:ph type="pic" sz="quarter" idx="32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E63C9A1-A82E-5ADB-B995-43A5347978D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153269" y="1589245"/>
            <a:ext cx="3715133" cy="792044"/>
          </a:xfrm>
        </p:spPr>
        <p:txBody>
          <a:bodyPr/>
          <a:lstStyle/>
          <a:p>
            <a:r>
              <a:rPr lang="en-US" sz="1800" dirty="0"/>
              <a:t>Insights directly from implementing CSOs</a:t>
            </a:r>
          </a:p>
          <a:p>
            <a:endParaRPr lang="en-US" dirty="0"/>
          </a:p>
        </p:txBody>
      </p:sp>
      <p:pic>
        <p:nvPicPr>
          <p:cNvPr id="13" name="Picture Placeholder 12" descr="Lights On with solid fill">
            <a:extLst>
              <a:ext uri="{FF2B5EF4-FFF2-40B4-BE49-F238E27FC236}">
                <a16:creationId xmlns:a16="http://schemas.microsoft.com/office/drawing/2014/main" id="{8FFC4236-B1F4-9599-8C3A-1F64140E2FB2}"/>
              </a:ext>
            </a:extLst>
          </p:cNvPr>
          <p:cNvPicPr>
            <a:picLocks noGrp="1" noChangeAspect="1"/>
          </p:cNvPicPr>
          <p:nvPr>
            <p:ph type="pic" sz="quarter" idx="35"/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4076625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944E473F-F760-49B1-4B41-D686A7E2B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oday’s Webinar and Consultation Thematic Focus</a:t>
            </a:r>
            <a:br>
              <a:rPr lang="en-US" dirty="0"/>
            </a:br>
            <a:br>
              <a:rPr lang="en-US" dirty="0"/>
            </a:br>
            <a:r>
              <a:rPr lang="en-US" sz="2700" i="1" dirty="0">
                <a:solidFill>
                  <a:schemeClr val="tx1"/>
                </a:solidFill>
              </a:rPr>
              <a:t>How do we ensure CSOs are not only funded—but structurally embedded—in health systems to enhance long-term resilience?</a:t>
            </a:r>
            <a:endParaRPr lang="en-US" sz="27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49DC8FA-3253-A07A-665F-8751DC482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6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8A4D65-7198-42CA-459C-44FE29C62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S Steering Committee - April 2023</a:t>
            </a:r>
            <a:endParaRPr lang="en-GB"/>
          </a:p>
        </p:txBody>
      </p:sp>
      <p:pic>
        <p:nvPicPr>
          <p:cNvPr id="30" name="Picture Placeholder 29" descr="Needle with solid fill">
            <a:extLst>
              <a:ext uri="{FF2B5EF4-FFF2-40B4-BE49-F238E27FC236}">
                <a16:creationId xmlns:a16="http://schemas.microsoft.com/office/drawing/2014/main" id="{75D48EA5-3F12-DF1A-6058-FCF919C1B42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1625" r="11625"/>
          <a:stretch>
            <a:fillRect/>
          </a:stretch>
        </p:blipFill>
        <p:spPr>
          <a:xfrm>
            <a:off x="560388" y="2295525"/>
            <a:ext cx="869950" cy="1133475"/>
          </a:xfr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184B5A6-3E5C-326E-B58A-F6F2CC835B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8947" y="2456072"/>
            <a:ext cx="4143829" cy="1133088"/>
          </a:xfrm>
        </p:spPr>
        <p:txBody>
          <a:bodyPr>
            <a:normAutofit fontScale="92500" lnSpcReduction="20000"/>
          </a:bodyPr>
          <a:lstStyle/>
          <a:p>
            <a:r>
              <a:rPr lang="en-US" sz="2400" dirty="0"/>
              <a:t>CSO roles in reaching zero-dose children as part of local PHC systems</a:t>
            </a:r>
          </a:p>
          <a:p>
            <a:endParaRPr lang="en-US" dirty="0"/>
          </a:p>
        </p:txBody>
      </p:sp>
      <p:pic>
        <p:nvPicPr>
          <p:cNvPr id="34" name="Picture Placeholder 33" descr="Handshake with solid fill">
            <a:extLst>
              <a:ext uri="{FF2B5EF4-FFF2-40B4-BE49-F238E27FC236}">
                <a16:creationId xmlns:a16="http://schemas.microsoft.com/office/drawing/2014/main" id="{9C5582D4-A037-5AE3-3036-263DC1CA3AC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1625" r="11625"/>
          <a:stretch/>
        </p:blipFill>
        <p:spPr>
          <a:xfrm>
            <a:off x="560388" y="4242407"/>
            <a:ext cx="869950" cy="1133475"/>
          </a:xfr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5CB8FD3-A448-7F50-E6E2-88B4FC28995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4484687"/>
            <a:ext cx="4143829" cy="1273448"/>
          </a:xfrm>
        </p:spPr>
        <p:txBody>
          <a:bodyPr>
            <a:normAutofit/>
          </a:bodyPr>
          <a:lstStyle/>
          <a:p>
            <a:r>
              <a:rPr lang="en-US" sz="2200" dirty="0"/>
              <a:t>Visibility and coordination of CSOs when working through indirect channels</a:t>
            </a:r>
          </a:p>
          <a:p>
            <a:endParaRPr lang="en-US" dirty="0"/>
          </a:p>
        </p:txBody>
      </p:sp>
      <p:pic>
        <p:nvPicPr>
          <p:cNvPr id="32" name="Picture Placeholder 31" descr="Medical with solid fill">
            <a:extLst>
              <a:ext uri="{FF2B5EF4-FFF2-40B4-BE49-F238E27FC236}">
                <a16:creationId xmlns:a16="http://schemas.microsoft.com/office/drawing/2014/main" id="{84B7C7E4-DF20-506A-D93F-50E8A466BB51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1625" r="11625"/>
          <a:stretch>
            <a:fillRect/>
          </a:stretch>
        </p:blipFill>
        <p:spPr>
          <a:xfrm>
            <a:off x="6499225" y="2236997"/>
            <a:ext cx="869950" cy="1133475"/>
          </a:xfr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6BBD56E-CB25-0A70-3DCA-5E418CF8C2E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87783" y="2290990"/>
            <a:ext cx="4143829" cy="1495242"/>
          </a:xfrm>
        </p:spPr>
        <p:txBody>
          <a:bodyPr>
            <a:normAutofit/>
          </a:bodyPr>
          <a:lstStyle/>
          <a:p>
            <a:r>
              <a:rPr lang="en-US" sz="2200" dirty="0"/>
              <a:t>Embedding CSOs into routine public health architecture, not parallel efforts</a:t>
            </a:r>
          </a:p>
          <a:p>
            <a:endParaRPr lang="en-US" dirty="0"/>
          </a:p>
        </p:txBody>
      </p:sp>
      <p:pic>
        <p:nvPicPr>
          <p:cNvPr id="36" name="Picture Placeholder 35" descr="Body builder with solid fill">
            <a:extLst>
              <a:ext uri="{FF2B5EF4-FFF2-40B4-BE49-F238E27FC236}">
                <a16:creationId xmlns:a16="http://schemas.microsoft.com/office/drawing/2014/main" id="{F72FB63B-D2FD-8A03-AD0D-0C35C6C902B5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11625" r="11625"/>
          <a:stretch>
            <a:fillRect/>
          </a:stretch>
        </p:blipFill>
        <p:spPr>
          <a:xfrm>
            <a:off x="6483533" y="4242407"/>
            <a:ext cx="869950" cy="1133475"/>
          </a:xfr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5F31980-B8B9-FDA4-3154-50046F83129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487783" y="4484687"/>
            <a:ext cx="4143829" cy="1495242"/>
          </a:xfrm>
        </p:spPr>
        <p:txBody>
          <a:bodyPr>
            <a:normAutofit lnSpcReduction="10000"/>
          </a:bodyPr>
          <a:lstStyle/>
          <a:p>
            <a:r>
              <a:rPr lang="en-US" sz="2200" dirty="0"/>
              <a:t>Strengthening results monitoring and learning systems to reflect CSO-system contribu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3945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3A53C4-7FAB-B19F-FB44-74ECC943B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369" y="589251"/>
            <a:ext cx="11154344" cy="592778"/>
          </a:xfrm>
        </p:spPr>
        <p:txBody>
          <a:bodyPr anchor="t">
            <a:noAutofit/>
          </a:bodyPr>
          <a:lstStyle/>
          <a:p>
            <a:r>
              <a:rPr lang="en-US" sz="2800" dirty="0"/>
              <a:t>Gavi’s vision for CSOs in building </a:t>
            </a:r>
            <a:r>
              <a:rPr lang="en-US" sz="2800"/>
              <a:t>resilient health </a:t>
            </a:r>
            <a:r>
              <a:rPr lang="en-US" sz="2800" dirty="0"/>
              <a:t>s</a:t>
            </a:r>
            <a:r>
              <a:rPr lang="en-US" sz="2800"/>
              <a:t>ystems</a:t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D16AB1-6E5A-8134-D64D-F507D9AE03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 anchor="b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7" name="Chart Placeholder 4">
            <a:extLst>
              <a:ext uri="{FF2B5EF4-FFF2-40B4-BE49-F238E27FC236}">
                <a16:creationId xmlns:a16="http://schemas.microsoft.com/office/drawing/2014/main" id="{5A5250A5-6BD8-5821-CBDD-D85AF3392672}"/>
              </a:ext>
            </a:extLst>
          </p:cNvPr>
          <p:cNvGraphicFramePr/>
          <p:nvPr/>
        </p:nvGraphicFramePr>
        <p:xfrm>
          <a:off x="515369" y="1320799"/>
          <a:ext cx="11153775" cy="43703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043769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9986F8A-EA0E-147A-2326-03002433EC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solidFill>
            <a:schemeClr val="tx2">
              <a:lumMod val="5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A4ED-01A5-8748-9624-0F64ADE841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3214" y="2313992"/>
            <a:ext cx="5012580" cy="3006153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CSO Spotlights: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endParaRPr lang="en-US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300" dirty="0"/>
              <a:t>ALIM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43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300" dirty="0"/>
              <a:t>Red Cross S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43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300" dirty="0"/>
              <a:t>CCRDA</a:t>
            </a:r>
          </a:p>
          <a:p>
            <a:endParaRPr lang="en-US" sz="4300" dirty="0"/>
          </a:p>
        </p:txBody>
      </p:sp>
    </p:spTree>
    <p:extLst>
      <p:ext uri="{BB962C8B-B14F-4D97-AF65-F5344CB8AC3E}">
        <p14:creationId xmlns:p14="http://schemas.microsoft.com/office/powerpoint/2010/main" val="18785420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1298" y="3302000"/>
            <a:ext cx="12187555" cy="3556000"/>
          </a:xfrm>
          <a:custGeom>
            <a:avLst/>
            <a:gdLst/>
            <a:ahLst/>
            <a:cxnLst/>
            <a:rect l="l" t="t" r="r" b="b"/>
            <a:pathLst>
              <a:path w="12187555" h="3556000">
                <a:moveTo>
                  <a:pt x="0" y="3556000"/>
                </a:moveTo>
                <a:lnTo>
                  <a:pt x="12187326" y="3556000"/>
                </a:lnTo>
                <a:lnTo>
                  <a:pt x="12187326" y="0"/>
                </a:lnTo>
                <a:lnTo>
                  <a:pt x="0" y="0"/>
                </a:lnTo>
                <a:lnTo>
                  <a:pt x="0" y="3556000"/>
                </a:lnTo>
                <a:close/>
              </a:path>
            </a:pathLst>
          </a:custGeom>
          <a:solidFill>
            <a:srgbClr val="0070B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-1298" y="0"/>
            <a:ext cx="12193905" cy="3302000"/>
            <a:chOff x="-1298" y="0"/>
            <a:chExt cx="12193905" cy="3302000"/>
          </a:xfrm>
        </p:grpSpPr>
        <p:sp>
          <p:nvSpPr>
            <p:cNvPr id="4" name="object 4"/>
            <p:cNvSpPr/>
            <p:nvPr/>
          </p:nvSpPr>
          <p:spPr>
            <a:xfrm>
              <a:off x="-1298" y="0"/>
              <a:ext cx="12187555" cy="2378075"/>
            </a:xfrm>
            <a:custGeom>
              <a:avLst/>
              <a:gdLst/>
              <a:ahLst/>
              <a:cxnLst/>
              <a:rect l="l" t="t" r="r" b="b"/>
              <a:pathLst>
                <a:path w="12187555" h="2378075">
                  <a:moveTo>
                    <a:pt x="0" y="2377833"/>
                  </a:moveTo>
                  <a:lnTo>
                    <a:pt x="12187326" y="2377833"/>
                  </a:lnTo>
                  <a:lnTo>
                    <a:pt x="12187326" y="0"/>
                  </a:lnTo>
                  <a:lnTo>
                    <a:pt x="0" y="0"/>
                  </a:lnTo>
                  <a:lnTo>
                    <a:pt x="0" y="2377833"/>
                  </a:lnTo>
                  <a:close/>
                </a:path>
              </a:pathLst>
            </a:custGeom>
            <a:solidFill>
              <a:srgbClr val="0070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2377833"/>
              <a:ext cx="12192000" cy="924560"/>
            </a:xfrm>
            <a:custGeom>
              <a:avLst/>
              <a:gdLst/>
              <a:ahLst/>
              <a:cxnLst/>
              <a:rect l="l" t="t" r="r" b="b"/>
              <a:pathLst>
                <a:path w="12192000" h="924560">
                  <a:moveTo>
                    <a:pt x="12192000" y="0"/>
                  </a:moveTo>
                  <a:lnTo>
                    <a:pt x="0" y="0"/>
                  </a:lnTo>
                  <a:lnTo>
                    <a:pt x="0" y="924166"/>
                  </a:lnTo>
                  <a:lnTo>
                    <a:pt x="12192000" y="924166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503237" y="6352895"/>
            <a:ext cx="81915" cy="147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50" dirty="0">
                <a:solidFill>
                  <a:srgbClr val="7F7F7F"/>
                </a:solidFill>
                <a:latin typeface="Arial"/>
                <a:cs typeface="Arial"/>
              </a:rPr>
              <a:t>1</a:t>
            </a:r>
            <a:endParaRPr sz="8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3220085" marR="5080" indent="-2896235">
              <a:lnSpc>
                <a:spcPts val="4490"/>
              </a:lnSpc>
              <a:spcBef>
                <a:spcPts val="25"/>
              </a:spcBef>
            </a:pPr>
            <a:r>
              <a:rPr sz="3600" dirty="0">
                <a:solidFill>
                  <a:srgbClr val="0070BF"/>
                </a:solidFill>
              </a:rPr>
              <a:t>The</a:t>
            </a:r>
            <a:r>
              <a:rPr sz="3600" spc="-45" dirty="0">
                <a:solidFill>
                  <a:srgbClr val="0070BF"/>
                </a:solidFill>
              </a:rPr>
              <a:t> </a:t>
            </a:r>
            <a:r>
              <a:rPr sz="3600" dirty="0">
                <a:solidFill>
                  <a:srgbClr val="0070BF"/>
                </a:solidFill>
              </a:rPr>
              <a:t>Alliance</a:t>
            </a:r>
            <a:r>
              <a:rPr sz="3600" spc="-45" dirty="0">
                <a:solidFill>
                  <a:srgbClr val="0070BF"/>
                </a:solidFill>
              </a:rPr>
              <a:t> </a:t>
            </a:r>
            <a:r>
              <a:rPr sz="3600" dirty="0">
                <a:solidFill>
                  <a:srgbClr val="0070BF"/>
                </a:solidFill>
              </a:rPr>
              <a:t>for</a:t>
            </a:r>
            <a:r>
              <a:rPr sz="3600" spc="-40" dirty="0">
                <a:solidFill>
                  <a:srgbClr val="0070BF"/>
                </a:solidFill>
              </a:rPr>
              <a:t> </a:t>
            </a:r>
            <a:r>
              <a:rPr sz="3600" dirty="0">
                <a:solidFill>
                  <a:srgbClr val="0070BF"/>
                </a:solidFill>
              </a:rPr>
              <a:t>International</a:t>
            </a:r>
            <a:r>
              <a:rPr sz="3600" spc="-45" dirty="0">
                <a:solidFill>
                  <a:srgbClr val="0070BF"/>
                </a:solidFill>
              </a:rPr>
              <a:t> </a:t>
            </a:r>
            <a:r>
              <a:rPr sz="3600" dirty="0">
                <a:solidFill>
                  <a:srgbClr val="0070BF"/>
                </a:solidFill>
              </a:rPr>
              <a:t>Medical</a:t>
            </a:r>
            <a:r>
              <a:rPr sz="3600" spc="-40" dirty="0">
                <a:solidFill>
                  <a:srgbClr val="0070BF"/>
                </a:solidFill>
              </a:rPr>
              <a:t> </a:t>
            </a:r>
            <a:r>
              <a:rPr sz="3600" spc="-10" dirty="0">
                <a:solidFill>
                  <a:srgbClr val="0070BF"/>
                </a:solidFill>
              </a:rPr>
              <a:t>Action </a:t>
            </a:r>
            <a:r>
              <a:rPr sz="3600" dirty="0">
                <a:solidFill>
                  <a:srgbClr val="0070BF"/>
                </a:solidFill>
              </a:rPr>
              <a:t>ALIMA</a:t>
            </a:r>
            <a:r>
              <a:rPr sz="3600" spc="-114" dirty="0">
                <a:solidFill>
                  <a:srgbClr val="0070BF"/>
                </a:solidFill>
              </a:rPr>
              <a:t> </a:t>
            </a:r>
            <a:r>
              <a:rPr sz="3600" spc="-10" dirty="0">
                <a:solidFill>
                  <a:srgbClr val="0070BF"/>
                </a:solidFill>
              </a:rPr>
              <a:t>Mauritanie</a:t>
            </a:r>
            <a:endParaRPr sz="3600"/>
          </a:p>
        </p:txBody>
      </p:sp>
      <p:sp>
        <p:nvSpPr>
          <p:cNvPr id="8" name="object 8"/>
          <p:cNvSpPr txBox="1"/>
          <p:nvPr/>
        </p:nvSpPr>
        <p:spPr>
          <a:xfrm>
            <a:off x="304382" y="3655974"/>
            <a:ext cx="5773420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1727200" algn="l"/>
                <a:tab pos="1916430" algn="l"/>
                <a:tab pos="2301875" algn="l"/>
                <a:tab pos="3869054" algn="l"/>
                <a:tab pos="4243070" algn="l"/>
                <a:tab pos="4616450" algn="l"/>
              </a:tabLst>
            </a:pP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P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é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spc="-1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sz="1600" spc="-50" dirty="0">
                <a:solidFill>
                  <a:srgbClr val="FFFFFF"/>
                </a:solidFill>
                <a:latin typeface="Arial"/>
                <a:cs typeface="Arial"/>
              </a:rPr>
              <a:t>: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	D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sz="1600" spc="-25" dirty="0">
                <a:solidFill>
                  <a:srgbClr val="FFFFFF"/>
                </a:solidFill>
                <a:latin typeface="Arial"/>
                <a:cs typeface="Arial"/>
              </a:rPr>
              <a:t>W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w</a:t>
            </a:r>
            <a:r>
              <a:rPr sz="1600" spc="-1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g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0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	R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0" dirty="0">
                <a:solidFill>
                  <a:srgbClr val="FFFFFF"/>
                </a:solidFill>
                <a:latin typeface="Arial"/>
                <a:cs typeface="Arial"/>
              </a:rPr>
              <a:t>.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	H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0" dirty="0">
                <a:solidFill>
                  <a:srgbClr val="FFFFFF"/>
                </a:solidFill>
                <a:latin typeface="Arial"/>
                <a:cs typeface="Arial"/>
              </a:rPr>
              <a:t>.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L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B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20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spc="-1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16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0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endParaRPr sz="1600">
              <a:latin typeface="Arial"/>
              <a:cs typeface="Arial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0"/>
            <a:ext cx="12186285" cy="854710"/>
            <a:chOff x="0" y="0"/>
            <a:chExt cx="12186285" cy="854710"/>
          </a:xfrm>
        </p:grpSpPr>
        <p:pic>
          <p:nvPicPr>
            <p:cNvPr id="10" name="object 1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1274284" cy="854710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290604" y="0"/>
              <a:ext cx="895421" cy="745642"/>
            </a:xfrm>
            <a:prstGeom prst="rect">
              <a:avLst/>
            </a:prstGeom>
          </p:spPr>
        </p:pic>
      </p:grpSp>
      <p:pic>
        <p:nvPicPr>
          <p:cNvPr id="12" name="object 1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1283086" y="6209601"/>
            <a:ext cx="845216" cy="560133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vi – Titles, Sections, End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B276190-5DD2-7F4B-9F0E-8F3BFCF15372}"/>
    </a:ext>
  </a:extLst>
</a:theme>
</file>

<file path=ppt/theme/theme2.xml><?xml version="1.0" encoding="utf-8"?>
<a:theme xmlns:a="http://schemas.openxmlformats.org/drawingml/2006/main" name="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3.xml><?xml version="1.0" encoding="utf-8"?>
<a:theme xmlns:a="http://schemas.openxmlformats.org/drawingml/2006/main" name="1_FULL_Gavi_PPT_TEMPLATE 2">
  <a:themeElements>
    <a:clrScheme name="Gavi">
      <a:dk1>
        <a:srgbClr val="343434"/>
      </a:dk1>
      <a:lt1>
        <a:sysClr val="window" lastClr="FFFFFF"/>
      </a:lt1>
      <a:dk2>
        <a:srgbClr val="F59BBB"/>
      </a:dk2>
      <a:lt2>
        <a:srgbClr val="878787"/>
      </a:lt2>
      <a:accent1>
        <a:srgbClr val="005CB9"/>
      </a:accent1>
      <a:accent2>
        <a:srgbClr val="00A1DF"/>
      </a:accent2>
      <a:accent3>
        <a:srgbClr val="95D600"/>
      </a:accent3>
      <a:accent4>
        <a:srgbClr val="A51890"/>
      </a:accent4>
      <a:accent5>
        <a:srgbClr val="CE0F69"/>
      </a:accent5>
      <a:accent6>
        <a:srgbClr val="005A70"/>
      </a:accent6>
      <a:hlink>
        <a:srgbClr val="343434"/>
      </a:hlink>
      <a:folHlink>
        <a:srgbClr val="343434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ull Gavi Powerpoint Template.potx [Read-Only]" id="{E31E8415-5D1C-43B2-9AFD-4E84714CE5D2}" vid="{104B6EBA-F253-43EC-8970-E08CDD48FD72}"/>
    </a:ext>
  </a:extLst>
</a:theme>
</file>

<file path=ppt/theme/theme4.xml><?xml version="1.0" encoding="utf-8"?>
<a:theme xmlns:a="http://schemas.openxmlformats.org/drawingml/2006/main" name="1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5.xml><?xml version="1.0" encoding="utf-8"?>
<a:theme xmlns:a="http://schemas.openxmlformats.org/drawingml/2006/main" name="2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f7bbc2e-6429-40c2-b36c-77d5284dd5e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9BDCA356E5E346A3EE977DA30B2A78" ma:contentTypeVersion="14" ma:contentTypeDescription="Create a new document." ma:contentTypeScope="" ma:versionID="5aa4f0bf72b182f38c746a0e0dc77e3d">
  <xsd:schema xmlns:xsd="http://www.w3.org/2001/XMLSchema" xmlns:xs="http://www.w3.org/2001/XMLSchema" xmlns:p="http://schemas.microsoft.com/office/2006/metadata/properties" xmlns:ns3="ff7bbc2e-6429-40c2-b36c-77d5284dd5eb" xmlns:ns4="ef189404-3bda-45a7-a4c7-214f11ac3816" targetNamespace="http://schemas.microsoft.com/office/2006/metadata/properties" ma:root="true" ma:fieldsID="d142df080508f7d2826a311b87eb176f" ns3:_="" ns4:_="">
    <xsd:import namespace="ff7bbc2e-6429-40c2-b36c-77d5284dd5eb"/>
    <xsd:import namespace="ef189404-3bda-45a7-a4c7-214f11ac381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7bbc2e-6429-40c2-b36c-77d5284dd5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189404-3bda-45a7-a4c7-214f11ac3816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B417BA-B70D-4064-B126-526D374E90C8}">
  <ds:schemaRefs>
    <ds:schemaRef ds:uri="http://schemas.microsoft.com/office/2006/metadata/properties"/>
    <ds:schemaRef ds:uri="ff7bbc2e-6429-40c2-b36c-77d5284dd5eb"/>
    <ds:schemaRef ds:uri="http://www.w3.org/XML/1998/namespace"/>
    <ds:schemaRef ds:uri="ef189404-3bda-45a7-a4c7-214f11ac3816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A1331E57-1D7B-420B-927F-9350DA5611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7bbc2e-6429-40c2-b36c-77d5284dd5eb"/>
    <ds:schemaRef ds:uri="ef189404-3bda-45a7-a4c7-214f11ac38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8C2AF94-1ADD-4497-B811-40779A42135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AVI_PPT_Full template</Template>
  <TotalTime>6086</TotalTime>
  <Words>3404</Words>
  <Application>Microsoft Office PowerPoint</Application>
  <PresentationFormat>Widescreen</PresentationFormat>
  <Paragraphs>510</Paragraphs>
  <Slides>41</Slides>
  <Notes>21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41</vt:i4>
      </vt:variant>
    </vt:vector>
  </HeadingPairs>
  <TitlesOfParts>
    <vt:vector size="46" baseType="lpstr">
      <vt:lpstr>Gavi – Titles, Sections, End Slides</vt:lpstr>
      <vt:lpstr>Gavi – Body Slides</vt:lpstr>
      <vt:lpstr>1_FULL_Gavi_PPT_TEMPLATE 2</vt:lpstr>
      <vt:lpstr>1_Gavi – Body Slides</vt:lpstr>
      <vt:lpstr>2_Gavi – Body Slides</vt:lpstr>
      <vt:lpstr>CSCE Webinar and CSO Consultation</vt:lpstr>
      <vt:lpstr>Housekeeping</vt:lpstr>
      <vt:lpstr>PowerPoint Presentation</vt:lpstr>
      <vt:lpstr>PowerPoint Presentation</vt:lpstr>
      <vt:lpstr>CSCE 2025 Webinar Series and CSO Consultations: a platform to listen, learn, and shape the future of CSO engagement </vt:lpstr>
      <vt:lpstr>Today’s Webinar and Consultation Thematic Focus  How do we ensure CSOs are not only funded—but structurally embedded—in health systems to enhance long-term resilience?</vt:lpstr>
      <vt:lpstr>Gavi’s vision for CSOs in building resilient health systems </vt:lpstr>
      <vt:lpstr>PowerPoint Presentation</vt:lpstr>
      <vt:lpstr>The Alliance for International Medical Action ALIMA Mauritanie</vt:lpstr>
      <vt:lpstr>Assistance au PEV pour étendre la couverture vaccinale aux enfants «zéro dose» et les communautés sous immunisées en Mauritanie, Soutien aux prestations de service de vaccination (CDS3, TCA, BCU, HPV)</vt:lpstr>
      <vt:lpstr>Sites d’intervention</vt:lpstr>
      <vt:lpstr>REALISATIONS</vt:lpstr>
      <vt:lpstr>PowerPoint Presentation</vt:lpstr>
      <vt:lpstr>« Les Mauritaniens sont tellement accueillants qu’ils n’hésitent pas à dénuder un bras ou une jambe d’un enfant pour qu’il reçoive un vaccin, à condition que quelqu’un fasse l’effort de venir jusqu’à eux. »</vt:lpstr>
      <vt:lpstr>PowerPoint Presentation</vt:lpstr>
      <vt:lpstr>SLRCS– contribute to the reduction of the number of zero-dose children in collaboration with community actors in Five Districts in Sierra Leone</vt:lpstr>
      <vt:lpstr>SLRCS– contribute to the reduction of the number of zero-dose children in collaboration with community actors in Five districts in Sierra Leone</vt:lpstr>
      <vt:lpstr>Role in Local Health Infrastructure</vt:lpstr>
      <vt:lpstr>What We’ve Achieved: Strengthening Systems from the Ground Up</vt:lpstr>
      <vt:lpstr>Outreach activities</vt:lpstr>
      <vt:lpstr>SLRCS – contribute to the reduction of the number of zero-dose children in collaboration with community actors in Five Districts in Sierra Leone</vt:lpstr>
      <vt:lpstr>Thank you</vt:lpstr>
      <vt:lpstr>Consortium of Christian Relief and Development Association (CCRDA), Ethiopia</vt:lpstr>
      <vt:lpstr>Reducing Zero dose and Under Immunized Children through Local CSOs in Hard to reach and pastoralist regions of Ethiopia</vt:lpstr>
      <vt:lpstr>Reducing Zero dose and Under Immunized Children through Local CSOs in Hard to reach and pastoralist regions of Ethiopia</vt:lpstr>
      <vt:lpstr>Reducing Zero dose and Under Immunized Children through Local CSOs in Hard to reach and pastoralist regions of Ethiopia</vt:lpstr>
      <vt:lpstr>Reducing Zero dose and Under Immunized Children through Local CSOs in Hard to reach and pastoralist regions of Ethiopia</vt:lpstr>
      <vt:lpstr>Thank you!</vt:lpstr>
      <vt:lpstr>PowerPoint Presentation</vt:lpstr>
      <vt:lpstr>PowerPoint Presentation</vt:lpstr>
      <vt:lpstr>Gavi Leap</vt:lpstr>
      <vt:lpstr>The Gavi 6.0 strategy defines priorities for Gavi’s support to countries</vt:lpstr>
      <vt:lpstr>New Health Systems Strategy defines five key shifts aligned with the Gavi Leap </vt:lpstr>
      <vt:lpstr>Moving towards a consolidated and aligned Gavi funding architecture makes it easier for countries to work with Gavi</vt:lpstr>
      <vt:lpstr>From 2026, countries will apply for support through one holistic five-year plan </vt:lpstr>
      <vt:lpstr>Partnerships approach for 6.0</vt:lpstr>
      <vt:lpstr>6.0 BUDGET RECALIBRATION</vt:lpstr>
      <vt:lpstr>KEY OUTCOMES RELEVANT FOR CSOs</vt:lpstr>
      <vt:lpstr>OTHER APPROVALS FROM BOARD MEETING</vt:lpstr>
      <vt:lpstr>Open Q&amp;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induction</dc:title>
  <dc:creator>Albane De Gabrielli</dc:creator>
  <cp:lastModifiedBy>Poorni Sampath</cp:lastModifiedBy>
  <cp:revision>32</cp:revision>
  <dcterms:created xsi:type="dcterms:W3CDTF">2023-03-09T11:02:04Z</dcterms:created>
  <dcterms:modified xsi:type="dcterms:W3CDTF">2025-08-15T09:5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957285-7815-485a-9751-5b273b784ad5_Enabled">
    <vt:lpwstr>true</vt:lpwstr>
  </property>
  <property fmtid="{D5CDD505-2E9C-101B-9397-08002B2CF9AE}" pid="3" name="MSIP_Label_0a957285-7815-485a-9751-5b273b784ad5_SetDate">
    <vt:lpwstr>2022-02-17T16:13:58Z</vt:lpwstr>
  </property>
  <property fmtid="{D5CDD505-2E9C-101B-9397-08002B2CF9AE}" pid="4" name="MSIP_Label_0a957285-7815-485a-9751-5b273b784ad5_Method">
    <vt:lpwstr>Privileged</vt:lpwstr>
  </property>
  <property fmtid="{D5CDD505-2E9C-101B-9397-08002B2CF9AE}" pid="5" name="MSIP_Label_0a957285-7815-485a-9751-5b273b784ad5_Name">
    <vt:lpwstr>0a957285-7815-485a-9751-5b273b784ad5</vt:lpwstr>
  </property>
  <property fmtid="{D5CDD505-2E9C-101B-9397-08002B2CF9AE}" pid="6" name="MSIP_Label_0a957285-7815-485a-9751-5b273b784ad5_SiteId">
    <vt:lpwstr>1de6d9f3-0daf-4df6-b9d6-5959f16f6118</vt:lpwstr>
  </property>
  <property fmtid="{D5CDD505-2E9C-101B-9397-08002B2CF9AE}" pid="7" name="MSIP_Label_0a957285-7815-485a-9751-5b273b784ad5_ActionId">
    <vt:lpwstr>149189a2-f678-4e5f-b622-22e4b9a92e12</vt:lpwstr>
  </property>
  <property fmtid="{D5CDD505-2E9C-101B-9397-08002B2CF9AE}" pid="8" name="MSIP_Label_0a957285-7815-485a-9751-5b273b784ad5_ContentBits">
    <vt:lpwstr>0</vt:lpwstr>
  </property>
  <property fmtid="{D5CDD505-2E9C-101B-9397-08002B2CF9AE}" pid="9" name="ContentTypeId">
    <vt:lpwstr>0x0101007B9BDCA356E5E346A3EE977DA30B2A78</vt:lpwstr>
  </property>
  <property fmtid="{D5CDD505-2E9C-101B-9397-08002B2CF9AE}" pid="10" name="_dlc_policyId">
    <vt:lpwstr>/teams/EXO/Documents</vt:lpwstr>
  </property>
  <property fmtid="{D5CDD505-2E9C-101B-9397-08002B2CF9AE}" pid="11" name="MediaServiceImageTags">
    <vt:lpwstr/>
  </property>
  <property fmtid="{D5CDD505-2E9C-101B-9397-08002B2CF9AE}" pid="12" name="ItemRetentionFormula">
    <vt:lpwstr>&lt;formula id="Microsoft.Office.RecordsManagement.PolicyFeatures.Expiration.Formula.BuiltIn"&gt;&lt;number&gt;7&lt;/number&gt;&lt;property&gt;Created&lt;/property&gt;&lt;propertyId&gt;8c06beca-0777-48f7-91c7-6da68bc07b69&lt;/propertyId&gt;&lt;period&gt;years&lt;/period&gt;&lt;/formula&gt;</vt:lpwstr>
  </property>
  <property fmtid="{D5CDD505-2E9C-101B-9397-08002B2CF9AE}" pid="13" name="_dlc_DocIdItemGuid">
    <vt:lpwstr>0486074d-c9c9-4e90-a8f6-f3d52f11ac50</vt:lpwstr>
  </property>
  <property fmtid="{D5CDD505-2E9C-101B-9397-08002B2CF9AE}" pid="14" name="kfa83adfad8641678ddaedda80d7e126">
    <vt:lpwstr/>
  </property>
  <property fmtid="{D5CDD505-2E9C-101B-9397-08002B2CF9AE}" pid="15" name="Test">
    <vt:lpwstr/>
  </property>
</Properties>
</file>